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6.xml" ContentType="application/vnd.openxmlformats-officedocument.presentationml.notesSlide+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1.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12.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15.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20.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21.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22.xml" ContentType="application/vnd.openxmlformats-officedocument.presentationml.notesSlide+xml"/>
  <Override PartName="/ppt/tags/tag194.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85" r:id="rId4"/>
    <p:sldMasterId id="2147483696" r:id="rId5"/>
    <p:sldMasterId id="2147483734" r:id="rId6"/>
    <p:sldMasterId id="2147483756" r:id="rId7"/>
    <p:sldMasterId id="2147483769" r:id="rId8"/>
  </p:sldMasterIdLst>
  <p:notesMasterIdLst>
    <p:notesMasterId r:id="rId80"/>
  </p:notesMasterIdLst>
  <p:handoutMasterIdLst>
    <p:handoutMasterId r:id="rId81"/>
  </p:handoutMasterIdLst>
  <p:sldIdLst>
    <p:sldId id="1752" r:id="rId9"/>
    <p:sldId id="1486" r:id="rId10"/>
    <p:sldId id="320" r:id="rId11"/>
    <p:sldId id="321" r:id="rId12"/>
    <p:sldId id="381" r:id="rId13"/>
    <p:sldId id="382" r:id="rId14"/>
    <p:sldId id="383" r:id="rId15"/>
    <p:sldId id="384" r:id="rId16"/>
    <p:sldId id="1875" r:id="rId17"/>
    <p:sldId id="1857" r:id="rId18"/>
    <p:sldId id="1858" r:id="rId19"/>
    <p:sldId id="1732" r:id="rId20"/>
    <p:sldId id="1719" r:id="rId21"/>
    <p:sldId id="1859" r:id="rId22"/>
    <p:sldId id="1876" r:id="rId23"/>
    <p:sldId id="1714" r:id="rId24"/>
    <p:sldId id="336" r:id="rId25"/>
    <p:sldId id="1860" r:id="rId26"/>
    <p:sldId id="1861" r:id="rId27"/>
    <p:sldId id="1665" r:id="rId28"/>
    <p:sldId id="1666" r:id="rId29"/>
    <p:sldId id="1862" r:id="rId30"/>
    <p:sldId id="394" r:id="rId31"/>
    <p:sldId id="1863" r:id="rId32"/>
    <p:sldId id="1878" r:id="rId33"/>
    <p:sldId id="314" r:id="rId34"/>
    <p:sldId id="1489" r:id="rId35"/>
    <p:sldId id="1492" r:id="rId36"/>
    <p:sldId id="1750" r:id="rId37"/>
    <p:sldId id="1865" r:id="rId38"/>
    <p:sldId id="292" r:id="rId39"/>
    <p:sldId id="1877" r:id="rId40"/>
    <p:sldId id="1866" r:id="rId41"/>
    <p:sldId id="1754" r:id="rId42"/>
    <p:sldId id="396" r:id="rId43"/>
    <p:sldId id="260" r:id="rId44"/>
    <p:sldId id="1659" r:id="rId45"/>
    <p:sldId id="1729" r:id="rId46"/>
    <p:sldId id="334" r:id="rId47"/>
    <p:sldId id="332" r:id="rId48"/>
    <p:sldId id="1867" r:id="rId49"/>
    <p:sldId id="1757" r:id="rId50"/>
    <p:sldId id="1823" r:id="rId51"/>
    <p:sldId id="1760" r:id="rId52"/>
    <p:sldId id="1824" r:id="rId53"/>
    <p:sldId id="1806" r:id="rId54"/>
    <p:sldId id="1804" r:id="rId55"/>
    <p:sldId id="1803" r:id="rId56"/>
    <p:sldId id="1761" r:id="rId57"/>
    <p:sldId id="1869" r:id="rId58"/>
    <p:sldId id="1758" r:id="rId59"/>
    <p:sldId id="323" r:id="rId60"/>
    <p:sldId id="326" r:id="rId61"/>
    <p:sldId id="328" r:id="rId62"/>
    <p:sldId id="1825" r:id="rId63"/>
    <p:sldId id="1870" r:id="rId64"/>
    <p:sldId id="1832" r:id="rId65"/>
    <p:sldId id="329" r:id="rId66"/>
    <p:sldId id="325" r:id="rId67"/>
    <p:sldId id="1834" r:id="rId68"/>
    <p:sldId id="1871" r:id="rId69"/>
    <p:sldId id="1836" r:id="rId70"/>
    <p:sldId id="322" r:id="rId71"/>
    <p:sldId id="1837" r:id="rId72"/>
    <p:sldId id="693" r:id="rId73"/>
    <p:sldId id="1872" r:id="rId74"/>
    <p:sldId id="694" r:id="rId75"/>
    <p:sldId id="259" r:id="rId76"/>
    <p:sldId id="1503" r:id="rId77"/>
    <p:sldId id="1873" r:id="rId78"/>
    <p:sldId id="1497" r:id="rId79"/>
  </p:sldIdLst>
  <p:sldSz cx="8961438" cy="6721475"/>
  <p:notesSz cx="7010400" cy="9236075"/>
  <p:custDataLst>
    <p:tags r:id="rId8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C923BBDC-B981-4D14-BE8F-730320F02281}">
          <p14:sldIdLst>
            <p14:sldId id="1752"/>
            <p14:sldId id="1486"/>
            <p14:sldId id="320"/>
            <p14:sldId id="321"/>
            <p14:sldId id="381"/>
            <p14:sldId id="382"/>
            <p14:sldId id="383"/>
            <p14:sldId id="384"/>
            <p14:sldId id="1875"/>
            <p14:sldId id="1857"/>
            <p14:sldId id="1858"/>
            <p14:sldId id="1732"/>
            <p14:sldId id="1719"/>
            <p14:sldId id="1859"/>
            <p14:sldId id="1876"/>
            <p14:sldId id="1714"/>
          </p14:sldIdLst>
        </p14:section>
        <p14:section name="Legacy Agenda" id="{AD9E4D10-3053-46BA-B8EF-BC7598CCB578}">
          <p14:sldIdLst>
            <p14:sldId id="336"/>
            <p14:sldId id="1860"/>
            <p14:sldId id="1861"/>
            <p14:sldId id="1665"/>
            <p14:sldId id="1666"/>
            <p14:sldId id="1862"/>
            <p14:sldId id="394"/>
            <p14:sldId id="1863"/>
            <p14:sldId id="1878"/>
            <p14:sldId id="314"/>
            <p14:sldId id="1489"/>
            <p14:sldId id="1492"/>
            <p14:sldId id="1750"/>
            <p14:sldId id="1865"/>
            <p14:sldId id="292"/>
            <p14:sldId id="1877"/>
            <p14:sldId id="1866"/>
            <p14:sldId id="1754"/>
            <p14:sldId id="396"/>
            <p14:sldId id="260"/>
            <p14:sldId id="1659"/>
            <p14:sldId id="1729"/>
            <p14:sldId id="334"/>
            <p14:sldId id="332"/>
            <p14:sldId id="1867"/>
            <p14:sldId id="1757"/>
            <p14:sldId id="1823"/>
            <p14:sldId id="1760"/>
            <p14:sldId id="1824"/>
            <p14:sldId id="1806"/>
            <p14:sldId id="1804"/>
            <p14:sldId id="1803"/>
            <p14:sldId id="1761"/>
            <p14:sldId id="1869"/>
            <p14:sldId id="1758"/>
            <p14:sldId id="323"/>
            <p14:sldId id="326"/>
            <p14:sldId id="328"/>
            <p14:sldId id="1825"/>
            <p14:sldId id="1870"/>
            <p14:sldId id="1832"/>
            <p14:sldId id="329"/>
            <p14:sldId id="325"/>
            <p14:sldId id="1834"/>
            <p14:sldId id="1871"/>
            <p14:sldId id="1836"/>
            <p14:sldId id="322"/>
            <p14:sldId id="1837"/>
            <p14:sldId id="693"/>
            <p14:sldId id="1872"/>
            <p14:sldId id="694"/>
            <p14:sldId id="259"/>
            <p14:sldId id="1503"/>
            <p14:sldId id="1873"/>
            <p14:sldId id="1497"/>
          </p14:sldIdLst>
        </p14:section>
      </p14:sectionLst>
    </p:ext>
    <p:ext uri="{EFAFB233-063F-42B5-8137-9DF3F51BA10A}">
      <p15:sldGuideLst xmlns:p15="http://schemas.microsoft.com/office/powerpoint/2012/main">
        <p15:guide id="1" orient="horz" pos="4233">
          <p15:clr>
            <a:srgbClr val="A4A3A4"/>
          </p15:clr>
        </p15:guide>
        <p15:guide id="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lanie Renshaw" initials="MR" lastIdx="164" clrIdx="0"/>
  <p:cmAuthor id="2" name="Stephen Rooke" initials="SR" lastIdx="1" clrIdx="1"/>
  <p:cmAuthor id="3" name="Elizabeth Katwan" initials="EK" lastIdx="6" clrIdx="2"/>
  <p:cmAuthor id="4" name="diego duque" initials="dd" lastIdx="13" clrIdx="3"/>
  <p:cmAuthor id="5" name="Anne Gasasira" initials="AG" lastIdx="30" clrIdx="4"/>
  <p:cmAuthor id="6" name="Author" initials="A" lastIdx="15" clrIdx="5"/>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B93A"/>
    <a:srgbClr val="54000B"/>
    <a:srgbClr val="6F0710"/>
    <a:srgbClr val="FAFFBD"/>
    <a:srgbClr val="FFFF66"/>
    <a:srgbClr val="6F1926"/>
    <a:srgbClr val="DFAF00"/>
    <a:srgbClr val="EDBB00"/>
    <a:srgbClr val="E9B800"/>
    <a:srgbClr val="55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2615" autoAdjust="0"/>
  </p:normalViewPr>
  <p:slideViewPr>
    <p:cSldViewPr snapToGrid="0" snapToObjects="1">
      <p:cViewPr varScale="1">
        <p:scale>
          <a:sx n="78" d="100"/>
          <a:sy n="78" d="100"/>
        </p:scale>
        <p:origin x="1359" y="27"/>
      </p:cViewPr>
      <p:guideLst>
        <p:guide orient="horz" pos="4233"/>
        <p:guide/>
      </p:guideLst>
    </p:cSldViewPr>
  </p:slideViewPr>
  <p:outlineViewPr>
    <p:cViewPr>
      <p:scale>
        <a:sx n="33" d="100"/>
        <a:sy n="33" d="100"/>
      </p:scale>
      <p:origin x="0" y="-26885"/>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3" d="100"/>
          <a:sy n="73" d="100"/>
        </p:scale>
        <p:origin x="-3408" y="-114"/>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tags" Target="tags/tag1.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notesMaster" Target="notesMasters/notesMaster1.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handoutMaster" Target="handoutMasters/handoutMaster1.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0"/>
      <c:rotY val="0"/>
      <c:depthPercent val="60"/>
      <c:rAngAx val="0"/>
      <c:perspective val="100"/>
    </c:view3D>
    <c:floor>
      <c:thickness val="0"/>
      <c:spPr>
        <a:solidFill>
          <a:schemeClr val="lt1">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dLbls>
          <c:showLegendKey val="0"/>
          <c:showVal val="0"/>
          <c:showCatName val="0"/>
          <c:showSerName val="0"/>
          <c:showPercent val="0"/>
          <c:showBubbleSize val="0"/>
        </c:dLbls>
        <c:gapWidth val="65"/>
        <c:shape val="box"/>
        <c:axId val="272719280"/>
        <c:axId val="272716480"/>
        <c:axId val="0"/>
      </c:bar3DChart>
      <c:catAx>
        <c:axId val="272719280"/>
        <c:scaling>
          <c:orientation val="minMax"/>
        </c:scaling>
        <c:delete val="1"/>
        <c:axPos val="b"/>
        <c:numFmt formatCode="General" sourceLinked="1"/>
        <c:majorTickMark val="none"/>
        <c:minorTickMark val="none"/>
        <c:tickLblPos val="nextTo"/>
        <c:crossAx val="272716480"/>
        <c:crosses val="autoZero"/>
        <c:auto val="1"/>
        <c:lblAlgn val="ctr"/>
        <c:lblOffset val="100"/>
        <c:noMultiLvlLbl val="0"/>
      </c:catAx>
      <c:valAx>
        <c:axId val="272716480"/>
        <c:scaling>
          <c:orientation val="minMax"/>
        </c:scaling>
        <c:delete val="1"/>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crossAx val="272719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solidFill>
        <a:schemeClr val="phClr">
          <a:alpha val="85000"/>
        </a:schemeClr>
      </a:solidFill>
      <a:ln w="9525" cap="flat" cmpd="sng" algn="ctr">
        <a:solidFill>
          <a:schemeClr val="phClr">
            <a:lumMod val="75000"/>
          </a:schemeClr>
        </a:solidFill>
        <a:round/>
      </a:ln>
    </cs:spPr>
  </cs:dataPoint>
  <cs:dataPoint3D>
    <cs:lnRef idx="0">
      <cs:styleClr val="auto"/>
    </cs:lnRef>
    <cs:fillRef idx="0">
      <cs:styleClr val="auto"/>
    </cs:fillRef>
    <cs:effectRef idx="0">
      <cs:styleClr val="auto"/>
    </cs:effectRef>
    <cs:fontRef idx="minor">
      <a:schemeClr val="dk1"/>
    </cs:fontRef>
    <cs:spPr>
      <a:solidFill>
        <a:schemeClr val="phClr">
          <a:alpha val="85000"/>
        </a:schemeClr>
      </a:solidFill>
      <a:ln w="9525" cap="flat" cmpd="sng" algn="ctr">
        <a:solidFill>
          <a:schemeClr val="phClr">
            <a:lumMod val="75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spPr>
      <a:solidFill>
        <a:schemeClr val="lt1">
          <a:lumMod val="95000"/>
        </a:schemeClr>
      </a:solidFill>
      <a:sp3d/>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7D309E39-240B-4AAE-A435-7A94D1ABF72C}" type="doc">
      <dgm:prSet loTypeId="urn:microsoft.com/office/officeart/2005/8/layout/default#1" loCatId="list" qsTypeId="urn:microsoft.com/office/officeart/2005/8/quickstyle/3d2#1" qsCatId="3D" csTypeId="urn:microsoft.com/office/officeart/2005/8/colors/colorful1#1" csCatId="colorful" phldr="1"/>
      <dgm:spPr/>
      <dgm:t>
        <a:bodyPr/>
        <a:lstStyle/>
        <a:p>
          <a:endParaRPr lang="en-US"/>
        </a:p>
      </dgm:t>
    </dgm:pt>
    <dgm:pt modelId="{71CD5780-E336-4BE3-AA0E-E03D336C6729}">
      <dgm:prSet phldrT="[Text]" custT="1">
        <dgm:style>
          <a:lnRef idx="2">
            <a:schemeClr val="accent4"/>
          </a:lnRef>
          <a:fillRef idx="1">
            <a:schemeClr val="lt1"/>
          </a:fillRef>
          <a:effectRef idx="0">
            <a:schemeClr val="accent4"/>
          </a:effectRef>
          <a:fontRef idx="minor">
            <a:schemeClr val="dk1"/>
          </a:fontRef>
        </dgm:style>
      </dgm:prSet>
      <dgm:spPr>
        <a:ln w="57150"/>
        <a:scene3d>
          <a:camera prst="orthographicFront"/>
          <a:lightRig rig="threePt" dir="t">
            <a:rot lat="0" lon="0" rev="7500000"/>
          </a:lightRig>
        </a:scene3d>
        <a:sp3d>
          <a:bevelT w="114300" prst="hardEdge"/>
        </a:sp3d>
      </dgm:spPr>
      <dgm:t>
        <a:bodyPr/>
        <a:lstStyle/>
        <a:p>
          <a:endParaRPr lang="en-US" sz="1500" dirty="0"/>
        </a:p>
        <a:p>
          <a:endParaRPr lang="en-US" sz="1500" dirty="0"/>
        </a:p>
        <a:p>
          <a:endParaRPr lang="en-US" sz="1500" dirty="0"/>
        </a:p>
        <a:p>
          <a:endParaRPr lang="en-US" sz="1500" dirty="0"/>
        </a:p>
        <a:p>
          <a:endParaRPr lang="en-US" sz="1500" dirty="0"/>
        </a:p>
        <a:p>
          <a:r>
            <a:rPr lang="en-US" sz="1500" dirty="0"/>
            <a:t>Insecticide treated mosquito nets (Routine and </a:t>
          </a:r>
          <a:r>
            <a:rPr lang="en-US" sz="1400" dirty="0"/>
            <a:t>campaign</a:t>
          </a:r>
          <a:r>
            <a:rPr lang="en-US" sz="1500" dirty="0"/>
            <a:t>)</a:t>
          </a:r>
        </a:p>
      </dgm:t>
    </dgm:pt>
    <dgm:pt modelId="{C6D533C6-C481-4A20-B538-D30D284B0BBF}" type="parTrans" cxnId="{F8B0A141-EA14-4CB7-9CC5-A257EC357437}">
      <dgm:prSet/>
      <dgm:spPr/>
      <dgm:t>
        <a:bodyPr/>
        <a:lstStyle/>
        <a:p>
          <a:endParaRPr lang="en-US" sz="1500"/>
        </a:p>
      </dgm:t>
    </dgm:pt>
    <dgm:pt modelId="{1A9DB975-33E9-4BA4-9517-BE30FFB3B383}" type="sibTrans" cxnId="{F8B0A141-EA14-4CB7-9CC5-A257EC357437}">
      <dgm:prSet/>
      <dgm:spPr/>
      <dgm:t>
        <a:bodyPr/>
        <a:lstStyle/>
        <a:p>
          <a:endParaRPr lang="en-US" sz="1500"/>
        </a:p>
      </dgm:t>
    </dgm:pt>
    <dgm:pt modelId="{41FC4EF4-0161-4562-92F4-8C5194F62C42}">
      <dgm:prSet phldrT="[Text]" custT="1">
        <dgm:style>
          <a:lnRef idx="2">
            <a:schemeClr val="accent2"/>
          </a:lnRef>
          <a:fillRef idx="1">
            <a:schemeClr val="lt1"/>
          </a:fillRef>
          <a:effectRef idx="0">
            <a:schemeClr val="accent2"/>
          </a:effectRef>
          <a:fontRef idx="minor">
            <a:schemeClr val="dk1"/>
          </a:fontRef>
        </dgm:style>
      </dgm:prSet>
      <dgm:spPr>
        <a:ln w="57150"/>
        <a:scene3d>
          <a:camera prst="orthographicFront"/>
          <a:lightRig rig="threePt" dir="t">
            <a:rot lat="0" lon="0" rev="7500000"/>
          </a:lightRig>
        </a:scene3d>
        <a:sp3d>
          <a:bevelT w="114300" prst="hardEdge"/>
        </a:sp3d>
      </dgm:spPr>
      <dgm:t>
        <a:bodyPr/>
        <a:lstStyle/>
        <a:p>
          <a:pPr>
            <a:spcAft>
              <a:spcPts val="0"/>
            </a:spcAft>
          </a:pPr>
          <a:endParaRPr lang="en-US" sz="1500" dirty="0"/>
        </a:p>
        <a:p>
          <a:pPr>
            <a:spcAft>
              <a:spcPts val="0"/>
            </a:spcAft>
          </a:pPr>
          <a:endParaRPr lang="en-US" sz="1500" dirty="0"/>
        </a:p>
        <a:p>
          <a:pPr>
            <a:spcAft>
              <a:spcPts val="0"/>
            </a:spcAft>
          </a:pPr>
          <a:endParaRPr lang="en-US" sz="1500" dirty="0"/>
        </a:p>
        <a:p>
          <a:pPr>
            <a:spcAft>
              <a:spcPts val="0"/>
            </a:spcAft>
          </a:pPr>
          <a:endParaRPr lang="en-US" sz="1500" dirty="0"/>
        </a:p>
        <a:p>
          <a:pPr>
            <a:spcAft>
              <a:spcPts val="0"/>
            </a:spcAft>
          </a:pPr>
          <a:endParaRPr lang="en-US" sz="1500" dirty="0"/>
        </a:p>
        <a:p>
          <a:pPr>
            <a:spcAft>
              <a:spcPts val="0"/>
            </a:spcAft>
          </a:pPr>
          <a:endParaRPr lang="en-US" sz="1500" dirty="0"/>
        </a:p>
        <a:p>
          <a:pPr>
            <a:spcAft>
              <a:spcPts val="0"/>
            </a:spcAft>
          </a:pPr>
          <a:endParaRPr lang="en-US" sz="1500" dirty="0"/>
        </a:p>
        <a:p>
          <a:pPr>
            <a:spcAft>
              <a:spcPts val="0"/>
            </a:spcAft>
          </a:pPr>
          <a:r>
            <a:rPr lang="en-US" sz="1500" dirty="0"/>
            <a:t>Spray houses with </a:t>
          </a:r>
        </a:p>
        <a:p>
          <a:pPr>
            <a:spcAft>
              <a:spcPts val="0"/>
            </a:spcAft>
          </a:pPr>
          <a:r>
            <a:rPr lang="en-US" sz="1500" dirty="0"/>
            <a:t>insecticide (IRS)</a:t>
          </a:r>
        </a:p>
      </dgm:t>
    </dgm:pt>
    <dgm:pt modelId="{511D72C3-6F55-43AF-9708-C44B47E95253}" type="parTrans" cxnId="{9E99A388-DCD7-4C8F-9D1B-409A86767500}">
      <dgm:prSet/>
      <dgm:spPr/>
      <dgm:t>
        <a:bodyPr/>
        <a:lstStyle/>
        <a:p>
          <a:endParaRPr lang="en-US" sz="1500"/>
        </a:p>
      </dgm:t>
    </dgm:pt>
    <dgm:pt modelId="{B65C2963-342A-4E66-B50F-430BCC76CA2A}" type="sibTrans" cxnId="{9E99A388-DCD7-4C8F-9D1B-409A86767500}">
      <dgm:prSet/>
      <dgm:spPr/>
      <dgm:t>
        <a:bodyPr/>
        <a:lstStyle/>
        <a:p>
          <a:endParaRPr lang="en-US" sz="1500"/>
        </a:p>
      </dgm:t>
    </dgm:pt>
    <dgm:pt modelId="{63C0FF67-37A7-4966-B18D-73E29A418242}">
      <dgm:prSet phldrT="[Text]" custT="1">
        <dgm:style>
          <a:lnRef idx="2">
            <a:schemeClr val="accent6"/>
          </a:lnRef>
          <a:fillRef idx="1">
            <a:schemeClr val="lt1"/>
          </a:fillRef>
          <a:effectRef idx="0">
            <a:schemeClr val="accent6"/>
          </a:effectRef>
          <a:fontRef idx="minor">
            <a:schemeClr val="dk1"/>
          </a:fontRef>
        </dgm:style>
      </dgm:prSet>
      <dgm:spPr>
        <a:ln w="57150"/>
        <a:scene3d>
          <a:camera prst="orthographicFront"/>
          <a:lightRig rig="threePt" dir="t">
            <a:rot lat="0" lon="0" rev="7500000"/>
          </a:lightRig>
        </a:scene3d>
        <a:sp3d>
          <a:bevelT w="114300" prst="hardEdge"/>
        </a:sp3d>
      </dgm:spPr>
      <dgm:t>
        <a:bodyPr/>
        <a:lstStyle/>
        <a:p>
          <a:pPr>
            <a:lnSpc>
              <a:spcPct val="100000"/>
            </a:lnSpc>
            <a:spcAft>
              <a:spcPts val="0"/>
            </a:spcAft>
          </a:pPr>
          <a:endParaRPr lang="en-US" sz="1500" dirty="0"/>
        </a:p>
        <a:p>
          <a:pPr>
            <a:lnSpc>
              <a:spcPct val="100000"/>
            </a:lnSpc>
            <a:spcAft>
              <a:spcPts val="0"/>
            </a:spcAft>
          </a:pPr>
          <a:endParaRPr lang="en-US" sz="1500" dirty="0"/>
        </a:p>
        <a:p>
          <a:pPr>
            <a:lnSpc>
              <a:spcPct val="100000"/>
            </a:lnSpc>
            <a:spcAft>
              <a:spcPts val="0"/>
            </a:spcAft>
          </a:pPr>
          <a:endParaRPr lang="en-US" sz="1500" dirty="0"/>
        </a:p>
        <a:p>
          <a:pPr>
            <a:lnSpc>
              <a:spcPct val="100000"/>
            </a:lnSpc>
            <a:spcAft>
              <a:spcPts val="0"/>
            </a:spcAft>
          </a:pPr>
          <a:endParaRPr lang="en-US" sz="1500" dirty="0"/>
        </a:p>
        <a:p>
          <a:pPr>
            <a:lnSpc>
              <a:spcPct val="100000"/>
            </a:lnSpc>
            <a:spcAft>
              <a:spcPts val="0"/>
            </a:spcAft>
          </a:pPr>
          <a:endParaRPr lang="en-US" sz="1500" dirty="0"/>
        </a:p>
        <a:p>
          <a:pPr>
            <a:lnSpc>
              <a:spcPct val="100000"/>
            </a:lnSpc>
            <a:spcAft>
              <a:spcPts val="0"/>
            </a:spcAft>
          </a:pPr>
          <a:endParaRPr lang="en-US" sz="1500" dirty="0"/>
        </a:p>
        <a:p>
          <a:pPr>
            <a:lnSpc>
              <a:spcPct val="100000"/>
            </a:lnSpc>
            <a:spcAft>
              <a:spcPts val="0"/>
            </a:spcAft>
          </a:pPr>
          <a:r>
            <a:rPr lang="en-US" sz="1500" b="0" dirty="0"/>
            <a:t>Larvicide to kill </a:t>
          </a:r>
          <a:br>
            <a:rPr lang="en-US" sz="1500" b="0" dirty="0"/>
          </a:br>
          <a:r>
            <a:rPr lang="en-US" sz="1500" b="0" dirty="0"/>
            <a:t>mosquito larvae </a:t>
          </a:r>
          <a:endParaRPr lang="en-US" sz="1500" dirty="0"/>
        </a:p>
      </dgm:t>
    </dgm:pt>
    <dgm:pt modelId="{4E61F82B-014A-4371-99E8-44F10BF8AE60}" type="parTrans" cxnId="{3CA82E5A-D929-48EC-97A2-06628CFD548D}">
      <dgm:prSet/>
      <dgm:spPr/>
      <dgm:t>
        <a:bodyPr/>
        <a:lstStyle/>
        <a:p>
          <a:endParaRPr lang="en-US" sz="1500"/>
        </a:p>
      </dgm:t>
    </dgm:pt>
    <dgm:pt modelId="{8D759C58-F2DD-4354-80A0-55586B8E5080}" type="sibTrans" cxnId="{3CA82E5A-D929-48EC-97A2-06628CFD548D}">
      <dgm:prSet/>
      <dgm:spPr/>
      <dgm:t>
        <a:bodyPr/>
        <a:lstStyle/>
        <a:p>
          <a:endParaRPr lang="en-US" sz="1500"/>
        </a:p>
      </dgm:t>
    </dgm:pt>
    <dgm:pt modelId="{FF3B751A-6B17-4E44-A215-4AA6E466A66E}">
      <dgm:prSet phldrT="[Text]" custT="1">
        <dgm:style>
          <a:lnRef idx="2">
            <a:schemeClr val="accent1"/>
          </a:lnRef>
          <a:fillRef idx="1">
            <a:schemeClr val="lt1"/>
          </a:fillRef>
          <a:effectRef idx="0">
            <a:schemeClr val="accent1"/>
          </a:effectRef>
          <a:fontRef idx="minor">
            <a:schemeClr val="dk1"/>
          </a:fontRef>
        </dgm:style>
      </dgm:prSet>
      <dgm:spPr>
        <a:ln w="57150"/>
        <a:scene3d>
          <a:camera prst="orthographicFront"/>
          <a:lightRig rig="threePt" dir="t">
            <a:rot lat="0" lon="0" rev="7500000"/>
          </a:lightRig>
        </a:scene3d>
        <a:sp3d>
          <a:bevelT w="114300" prst="hardEdge"/>
        </a:sp3d>
      </dgm:spPr>
      <dgm:t>
        <a:bodyPr/>
        <a:lstStyle/>
        <a:p>
          <a:endParaRPr lang="en-US" sz="1500" b="0" dirty="0"/>
        </a:p>
        <a:p>
          <a:endParaRPr lang="en-US" sz="1500" b="0" dirty="0"/>
        </a:p>
        <a:p>
          <a:endParaRPr lang="en-US" sz="1500" b="0" dirty="0"/>
        </a:p>
        <a:p>
          <a:endParaRPr lang="en-US" sz="1500" b="0" dirty="0"/>
        </a:p>
        <a:p>
          <a:endParaRPr lang="en-US" sz="1500" b="0" dirty="0"/>
        </a:p>
        <a:p>
          <a:pPr>
            <a:buFont typeface="+mj-lt"/>
            <a:buNone/>
          </a:pPr>
          <a:r>
            <a:rPr lang="en-US" sz="1500" b="0" dirty="0"/>
            <a:t>Communication on malaria treatment and prevention </a:t>
          </a:r>
          <a:endParaRPr lang="en-US" sz="1500" dirty="0"/>
        </a:p>
      </dgm:t>
    </dgm:pt>
    <dgm:pt modelId="{49182B94-34C6-46B8-B124-58986739932D}" type="parTrans" cxnId="{B7DB6EEC-8AC2-4100-B342-B4024334F223}">
      <dgm:prSet/>
      <dgm:spPr/>
      <dgm:t>
        <a:bodyPr/>
        <a:lstStyle/>
        <a:p>
          <a:endParaRPr lang="en-US" sz="1500"/>
        </a:p>
      </dgm:t>
    </dgm:pt>
    <dgm:pt modelId="{CBCFC193-2674-404C-AC80-AFA0AA7CD379}" type="sibTrans" cxnId="{B7DB6EEC-8AC2-4100-B342-B4024334F223}">
      <dgm:prSet/>
      <dgm:spPr/>
      <dgm:t>
        <a:bodyPr/>
        <a:lstStyle/>
        <a:p>
          <a:endParaRPr lang="en-US" sz="1500"/>
        </a:p>
      </dgm:t>
    </dgm:pt>
    <dgm:pt modelId="{688834FB-2CEA-43DE-AC74-A652A4D3CA78}">
      <dgm:prSet phldrT="[Text]" custT="1">
        <dgm:style>
          <a:lnRef idx="2">
            <a:schemeClr val="accent3"/>
          </a:lnRef>
          <a:fillRef idx="1">
            <a:schemeClr val="lt1"/>
          </a:fillRef>
          <a:effectRef idx="0">
            <a:schemeClr val="accent3"/>
          </a:effectRef>
          <a:fontRef idx="minor">
            <a:schemeClr val="dk1"/>
          </a:fontRef>
        </dgm:style>
      </dgm:prSet>
      <dgm:spPr>
        <a:ln w="57150"/>
        <a:scene3d>
          <a:camera prst="orthographicFront"/>
          <a:lightRig rig="threePt" dir="t">
            <a:rot lat="0" lon="0" rev="7500000"/>
          </a:lightRig>
        </a:scene3d>
        <a:sp3d>
          <a:bevelT w="114300" prst="hardEdge"/>
        </a:sp3d>
      </dgm:spPr>
      <dgm:t>
        <a:bodyPr/>
        <a:lstStyle/>
        <a:p>
          <a:pPr>
            <a:buFont typeface="+mj-lt"/>
            <a:buNone/>
          </a:pPr>
          <a:endParaRPr lang="en-US" sz="1500" b="0" dirty="0"/>
        </a:p>
        <a:p>
          <a:pPr>
            <a:buFont typeface="+mj-lt"/>
            <a:buNone/>
          </a:pPr>
          <a:endParaRPr lang="en-US" sz="1500" b="0" dirty="0"/>
        </a:p>
        <a:p>
          <a:pPr>
            <a:buFont typeface="+mj-lt"/>
            <a:buNone/>
          </a:pPr>
          <a:endParaRPr lang="en-US" sz="1500" b="0" dirty="0"/>
        </a:p>
        <a:p>
          <a:pPr>
            <a:buFont typeface="+mj-lt"/>
            <a:buNone/>
          </a:pPr>
          <a:endParaRPr lang="en-US" sz="1500" b="0" dirty="0"/>
        </a:p>
        <a:p>
          <a:pPr>
            <a:buFont typeface="+mj-lt"/>
            <a:buNone/>
          </a:pPr>
          <a:endParaRPr lang="en-US" sz="1500" b="0" dirty="0"/>
        </a:p>
        <a:p>
          <a:pPr>
            <a:buFont typeface="+mj-lt"/>
            <a:buNone/>
          </a:pPr>
          <a:r>
            <a:rPr lang="en-US" sz="1500" b="0" dirty="0"/>
            <a:t>Test all fevers </a:t>
          </a:r>
          <a:br>
            <a:rPr lang="en-US" sz="1500" b="0" dirty="0"/>
          </a:br>
          <a:r>
            <a:rPr lang="en-US" sz="1500" b="0" dirty="0"/>
            <a:t>(Rapid test / blood slide)</a:t>
          </a:r>
          <a:endParaRPr lang="en-US" sz="1500" dirty="0"/>
        </a:p>
      </dgm:t>
    </dgm:pt>
    <dgm:pt modelId="{EE46AD0D-1F87-4091-AFAD-578577955DDC}" type="parTrans" cxnId="{1CFBFC7B-D67F-4792-81B4-0972913EEF06}">
      <dgm:prSet/>
      <dgm:spPr/>
      <dgm:t>
        <a:bodyPr/>
        <a:lstStyle/>
        <a:p>
          <a:endParaRPr lang="en-US" sz="1500"/>
        </a:p>
      </dgm:t>
    </dgm:pt>
    <dgm:pt modelId="{436B4E98-15A9-49AF-AB23-4EC69C7A6BAE}" type="sibTrans" cxnId="{1CFBFC7B-D67F-4792-81B4-0972913EEF06}">
      <dgm:prSet/>
      <dgm:spPr/>
      <dgm:t>
        <a:bodyPr/>
        <a:lstStyle/>
        <a:p>
          <a:endParaRPr lang="en-US" sz="1500"/>
        </a:p>
      </dgm:t>
    </dgm:pt>
    <dgm:pt modelId="{BCD130ED-81E2-4163-B091-D8755E126EF2}">
      <dgm:prSet phldrT="[Text]" custT="1">
        <dgm:style>
          <a:lnRef idx="2">
            <a:schemeClr val="dk1"/>
          </a:lnRef>
          <a:fillRef idx="1">
            <a:schemeClr val="lt1"/>
          </a:fillRef>
          <a:effectRef idx="0">
            <a:schemeClr val="dk1"/>
          </a:effectRef>
          <a:fontRef idx="minor">
            <a:schemeClr val="dk1"/>
          </a:fontRef>
        </dgm:style>
      </dgm:prSet>
      <dgm:spPr>
        <a:ln w="57150"/>
        <a:scene3d>
          <a:camera prst="orthographicFront"/>
          <a:lightRig rig="threePt" dir="t">
            <a:rot lat="0" lon="0" rev="7500000"/>
          </a:lightRig>
        </a:scene3d>
        <a:sp3d>
          <a:bevelT w="114300" prst="hardEdge"/>
        </a:sp3d>
      </dgm:spPr>
      <dgm:t>
        <a:bodyPr/>
        <a:lstStyle/>
        <a:p>
          <a:pPr>
            <a:buFont typeface="+mj-lt"/>
            <a:buAutoNum type="arabicPeriod"/>
          </a:pPr>
          <a:endParaRPr lang="en-US" sz="1500" b="0" dirty="0"/>
        </a:p>
        <a:p>
          <a:pPr>
            <a:buFont typeface="+mj-lt"/>
            <a:buAutoNum type="arabicPeriod"/>
          </a:pPr>
          <a:endParaRPr lang="en-US" sz="1500" b="0" dirty="0"/>
        </a:p>
        <a:p>
          <a:pPr>
            <a:buFont typeface="+mj-lt"/>
            <a:buAutoNum type="arabicPeriod"/>
          </a:pPr>
          <a:endParaRPr lang="en-US" sz="1500" b="0" dirty="0"/>
        </a:p>
        <a:p>
          <a:pPr>
            <a:buFont typeface="+mj-lt"/>
            <a:buAutoNum type="arabicPeriod"/>
          </a:pPr>
          <a:endParaRPr lang="en-US" sz="1500" b="0" dirty="0"/>
        </a:p>
        <a:p>
          <a:pPr>
            <a:buFont typeface="+mj-lt"/>
            <a:buAutoNum type="arabicPeriod"/>
          </a:pPr>
          <a:r>
            <a:rPr lang="en-US" sz="1500" dirty="0"/>
            <a:t>Malaria medicine: Mass drug administration (MDA) or treatment to all confirmed cases (ACT)</a:t>
          </a:r>
        </a:p>
      </dgm:t>
    </dgm:pt>
    <dgm:pt modelId="{BE8DB31B-F92E-4CB9-A197-F01FBB0ABB5B}" type="parTrans" cxnId="{BB6F745E-7678-4120-9F1A-3276EDCE47BC}">
      <dgm:prSet/>
      <dgm:spPr/>
      <dgm:t>
        <a:bodyPr/>
        <a:lstStyle/>
        <a:p>
          <a:endParaRPr lang="en-US" sz="1500"/>
        </a:p>
      </dgm:t>
    </dgm:pt>
    <dgm:pt modelId="{B64DC39F-8796-4DDA-BFD3-55F4EFE615B3}" type="sibTrans" cxnId="{BB6F745E-7678-4120-9F1A-3276EDCE47BC}">
      <dgm:prSet/>
      <dgm:spPr/>
      <dgm:t>
        <a:bodyPr/>
        <a:lstStyle/>
        <a:p>
          <a:endParaRPr lang="en-US" sz="1500"/>
        </a:p>
      </dgm:t>
    </dgm:pt>
    <dgm:pt modelId="{5D7F7AE9-EC14-4A11-8C7F-4FEC07AB2A1D}">
      <dgm:prSet phldrT="[Text]" custT="1"/>
      <dgm:spPr>
        <a:noFill/>
        <a:ln w="57150">
          <a:solidFill>
            <a:srgbClr val="7030A0"/>
          </a:solidFill>
        </a:ln>
        <a:effectLst/>
        <a:scene3d>
          <a:camera prst="orthographicFront"/>
          <a:lightRig rig="threePt" dir="t">
            <a:rot lat="0" lon="0" rev="7500000"/>
          </a:lightRig>
        </a:scene3d>
        <a:sp3d prstMaterial="plastic">
          <a:bevelT w="114300" prst="hardEdge"/>
        </a:sp3d>
      </dgm:spPr>
      <dgm:t>
        <a:bodyPr/>
        <a:lstStyle/>
        <a:p>
          <a:endParaRPr lang="en-US" sz="1500" dirty="0">
            <a:solidFill>
              <a:schemeClr val="tx1"/>
            </a:solidFill>
          </a:endParaRPr>
        </a:p>
        <a:p>
          <a:endParaRPr lang="en-US" sz="1500" dirty="0">
            <a:solidFill>
              <a:schemeClr val="tx1"/>
            </a:solidFill>
          </a:endParaRPr>
        </a:p>
        <a:p>
          <a:endParaRPr lang="en-US" sz="1500" dirty="0">
            <a:solidFill>
              <a:schemeClr val="tx1"/>
            </a:solidFill>
          </a:endParaRPr>
        </a:p>
        <a:p>
          <a:r>
            <a:rPr lang="en-US" sz="1500" dirty="0">
              <a:solidFill>
                <a:schemeClr val="tx1"/>
              </a:solidFill>
            </a:rPr>
            <a:t>Target at-risk populations</a:t>
          </a:r>
        </a:p>
      </dgm:t>
    </dgm:pt>
    <dgm:pt modelId="{C6A85638-E354-4428-8EFD-7772C7F7E127}" type="sibTrans" cxnId="{F234DB8D-E02E-4F04-97B2-B587E7B47D51}">
      <dgm:prSet/>
      <dgm:spPr/>
      <dgm:t>
        <a:bodyPr/>
        <a:lstStyle/>
        <a:p>
          <a:endParaRPr lang="en-US" sz="1500"/>
        </a:p>
      </dgm:t>
    </dgm:pt>
    <dgm:pt modelId="{B1EFEEBB-7916-4ADB-AC18-422E02D7F645}" type="parTrans" cxnId="{F234DB8D-E02E-4F04-97B2-B587E7B47D51}">
      <dgm:prSet/>
      <dgm:spPr/>
      <dgm:t>
        <a:bodyPr/>
        <a:lstStyle/>
        <a:p>
          <a:endParaRPr lang="en-US" sz="1500"/>
        </a:p>
      </dgm:t>
    </dgm:pt>
    <dgm:pt modelId="{04CD9E83-F705-44B8-8D18-0EFF204D9CDE}">
      <dgm:prSet phldrT="[Text]" custT="1">
        <dgm:style>
          <a:lnRef idx="2">
            <a:schemeClr val="accent1"/>
          </a:lnRef>
          <a:fillRef idx="1">
            <a:schemeClr val="lt1"/>
          </a:fillRef>
          <a:effectRef idx="0">
            <a:schemeClr val="accent1"/>
          </a:effectRef>
          <a:fontRef idx="minor">
            <a:schemeClr val="dk1"/>
          </a:fontRef>
        </dgm:style>
      </dgm:prSet>
      <dgm:spPr>
        <a:ln w="57150">
          <a:solidFill>
            <a:srgbClr val="C00000"/>
          </a:solidFill>
        </a:ln>
        <a:scene3d>
          <a:camera prst="orthographicFront"/>
          <a:lightRig rig="threePt" dir="t">
            <a:rot lat="0" lon="0" rev="7500000"/>
          </a:lightRig>
        </a:scene3d>
        <a:sp3d>
          <a:bevelT w="114300" prst="hardEdge"/>
        </a:sp3d>
      </dgm:spPr>
      <dgm:t>
        <a:bodyPr/>
        <a:lstStyle/>
        <a:p>
          <a:endParaRPr lang="en-US" sz="1500" dirty="0"/>
        </a:p>
        <a:p>
          <a:endParaRPr lang="en-US" sz="1500" dirty="0"/>
        </a:p>
        <a:p>
          <a:endParaRPr lang="en-US" sz="1500" dirty="0"/>
        </a:p>
        <a:p>
          <a:r>
            <a:rPr lang="en-US" sz="1500" b="0" cap="none" spc="0" dirty="0">
              <a:ln w="0"/>
              <a:solidFill>
                <a:schemeClr val="tx1"/>
              </a:solidFill>
              <a:effectLst/>
            </a:rPr>
            <a:t>Surveillance and M&amp;E</a:t>
          </a:r>
        </a:p>
      </dgm:t>
    </dgm:pt>
    <dgm:pt modelId="{453A569E-09D1-4312-BA5F-DA3DACFAFD35}" type="parTrans" cxnId="{793426B0-0B8B-42C5-869E-9D0F0AE7E194}">
      <dgm:prSet/>
      <dgm:spPr/>
      <dgm:t>
        <a:bodyPr/>
        <a:lstStyle/>
        <a:p>
          <a:endParaRPr lang="en-US" sz="1500"/>
        </a:p>
      </dgm:t>
    </dgm:pt>
    <dgm:pt modelId="{5F97F125-0495-42EA-9FB1-10EF900F8345}" type="sibTrans" cxnId="{793426B0-0B8B-42C5-869E-9D0F0AE7E194}">
      <dgm:prSet/>
      <dgm:spPr/>
      <dgm:t>
        <a:bodyPr/>
        <a:lstStyle/>
        <a:p>
          <a:endParaRPr lang="en-US" sz="1500"/>
        </a:p>
      </dgm:t>
    </dgm:pt>
    <dgm:pt modelId="{75F72556-7815-4BD7-AB66-2EA5590B1CAC}" type="pres">
      <dgm:prSet presAssocID="{7D309E39-240B-4AAE-A435-7A94D1ABF72C}" presName="diagram" presStyleCnt="0">
        <dgm:presLayoutVars>
          <dgm:dir/>
          <dgm:resizeHandles val="exact"/>
        </dgm:presLayoutVars>
      </dgm:prSet>
      <dgm:spPr/>
    </dgm:pt>
    <dgm:pt modelId="{F503C3E4-AD19-494B-B730-D153178D6EAF}" type="pres">
      <dgm:prSet presAssocID="{71CD5780-E336-4BE3-AA0E-E03D336C6729}" presName="node" presStyleLbl="node1" presStyleIdx="0" presStyleCnt="8" custScaleX="87197" custScaleY="110249" custLinFactNeighborX="-8201" custLinFactNeighborY="-80">
        <dgm:presLayoutVars>
          <dgm:bulletEnabled val="1"/>
        </dgm:presLayoutVars>
      </dgm:prSet>
      <dgm:spPr/>
    </dgm:pt>
    <dgm:pt modelId="{2C39E88A-272A-4F11-B924-C0EDA5BDEE92}" type="pres">
      <dgm:prSet presAssocID="{1A9DB975-33E9-4BA4-9517-BE30FFB3B383}" presName="sibTrans" presStyleCnt="0"/>
      <dgm:spPr/>
    </dgm:pt>
    <dgm:pt modelId="{B85EAB60-08CB-4B14-AD5B-BDF16427A5D7}" type="pres">
      <dgm:prSet presAssocID="{41FC4EF4-0161-4562-92F4-8C5194F62C42}" presName="node" presStyleLbl="node1" presStyleIdx="1" presStyleCnt="8" custScaleX="87197" custScaleY="110249" custLinFactNeighborX="-7018" custLinFactNeighborY="-563">
        <dgm:presLayoutVars>
          <dgm:bulletEnabled val="1"/>
        </dgm:presLayoutVars>
      </dgm:prSet>
      <dgm:spPr/>
    </dgm:pt>
    <dgm:pt modelId="{B1AD242A-559B-4535-B894-4A6E7D7DD827}" type="pres">
      <dgm:prSet presAssocID="{B65C2963-342A-4E66-B50F-430BCC76CA2A}" presName="sibTrans" presStyleCnt="0"/>
      <dgm:spPr/>
    </dgm:pt>
    <dgm:pt modelId="{D265066D-B34E-436E-92A3-8BFBD04BE400}" type="pres">
      <dgm:prSet presAssocID="{63C0FF67-37A7-4966-B18D-73E29A418242}" presName="node" presStyleLbl="node1" presStyleIdx="2" presStyleCnt="8" custScaleX="87197" custScaleY="110249">
        <dgm:presLayoutVars>
          <dgm:bulletEnabled val="1"/>
        </dgm:presLayoutVars>
      </dgm:prSet>
      <dgm:spPr/>
    </dgm:pt>
    <dgm:pt modelId="{40FF2787-E237-4BD4-845E-3CB8C4CCFEAC}" type="pres">
      <dgm:prSet presAssocID="{8D759C58-F2DD-4354-80A0-55586B8E5080}" presName="sibTrans" presStyleCnt="0"/>
      <dgm:spPr/>
    </dgm:pt>
    <dgm:pt modelId="{38562D9C-E686-40D8-81B0-EBB88B41A51C}" type="pres">
      <dgm:prSet presAssocID="{FF3B751A-6B17-4E44-A215-4AA6E466A66E}" presName="node" presStyleLbl="node1" presStyleIdx="3" presStyleCnt="8" custScaleX="87197" custScaleY="110249">
        <dgm:presLayoutVars>
          <dgm:bulletEnabled val="1"/>
        </dgm:presLayoutVars>
      </dgm:prSet>
      <dgm:spPr/>
    </dgm:pt>
    <dgm:pt modelId="{C7705A28-19BF-4AAE-ABC0-FCEE89A9C130}" type="pres">
      <dgm:prSet presAssocID="{CBCFC193-2674-404C-AC80-AFA0AA7CD379}" presName="sibTrans" presStyleCnt="0"/>
      <dgm:spPr/>
    </dgm:pt>
    <dgm:pt modelId="{1E1BEBE6-40B7-4DCA-B098-1124B915EB17}" type="pres">
      <dgm:prSet presAssocID="{688834FB-2CEA-43DE-AC74-A652A4D3CA78}" presName="node" presStyleLbl="node1" presStyleIdx="4" presStyleCnt="8" custScaleX="87197" custScaleY="110249">
        <dgm:presLayoutVars>
          <dgm:bulletEnabled val="1"/>
        </dgm:presLayoutVars>
      </dgm:prSet>
      <dgm:spPr/>
    </dgm:pt>
    <dgm:pt modelId="{58849C93-E631-48DD-82AE-BBAFFCCF33F8}" type="pres">
      <dgm:prSet presAssocID="{436B4E98-15A9-49AF-AB23-4EC69C7A6BAE}" presName="sibTrans" presStyleCnt="0"/>
      <dgm:spPr/>
    </dgm:pt>
    <dgm:pt modelId="{15A4A373-8A17-4ED8-BB9E-7EC7C9AA9B38}" type="pres">
      <dgm:prSet presAssocID="{BCD130ED-81E2-4163-B091-D8755E126EF2}" presName="node" presStyleLbl="node1" presStyleIdx="5" presStyleCnt="8" custScaleX="102982" custScaleY="110249">
        <dgm:presLayoutVars>
          <dgm:bulletEnabled val="1"/>
        </dgm:presLayoutVars>
      </dgm:prSet>
      <dgm:spPr/>
    </dgm:pt>
    <dgm:pt modelId="{CD401C8F-8AAC-4DEE-802B-6CAB9E917291}" type="pres">
      <dgm:prSet presAssocID="{B64DC39F-8796-4DDA-BFD3-55F4EFE615B3}" presName="sibTrans" presStyleCnt="0"/>
      <dgm:spPr/>
    </dgm:pt>
    <dgm:pt modelId="{08E31453-BC0D-45B9-B442-7801DFE13C36}" type="pres">
      <dgm:prSet presAssocID="{5D7F7AE9-EC14-4A11-8C7F-4FEC07AB2A1D}" presName="node" presStyleLbl="node1" presStyleIdx="6" presStyleCnt="8" custScaleX="87736" custScaleY="62489" custLinFactNeighborX="-57036" custLinFactNeighborY="-4390">
        <dgm:presLayoutVars>
          <dgm:bulletEnabled val="1"/>
        </dgm:presLayoutVars>
      </dgm:prSet>
      <dgm:spPr/>
    </dgm:pt>
    <dgm:pt modelId="{BA089E32-9EC8-4D3A-B023-47BC3D585A46}" type="pres">
      <dgm:prSet presAssocID="{C6A85638-E354-4428-8EFD-7772C7F7E127}" presName="sibTrans" presStyleCnt="0"/>
      <dgm:spPr/>
    </dgm:pt>
    <dgm:pt modelId="{3A36586C-5537-4008-926B-06C234337024}" type="pres">
      <dgm:prSet presAssocID="{04CD9E83-F705-44B8-8D18-0EFF204D9CDE}" presName="node" presStyleLbl="node1" presStyleIdx="7" presStyleCnt="8" custScaleX="86252" custScaleY="62489" custLinFactNeighborX="-57017" custLinFactNeighborY="-5503">
        <dgm:presLayoutVars>
          <dgm:bulletEnabled val="1"/>
        </dgm:presLayoutVars>
      </dgm:prSet>
      <dgm:spPr/>
    </dgm:pt>
  </dgm:ptLst>
  <dgm:cxnLst>
    <dgm:cxn modelId="{3D8D2921-C8A9-40E6-9064-F611A6B74BC1}" type="presOf" srcId="{BCD130ED-81E2-4163-B091-D8755E126EF2}" destId="{15A4A373-8A17-4ED8-BB9E-7EC7C9AA9B38}" srcOrd="0" destOrd="0" presId="urn:microsoft.com/office/officeart/2005/8/layout/default#1"/>
    <dgm:cxn modelId="{A0F5243A-086A-45A0-BE08-5E71FE2552F6}" type="presOf" srcId="{7D309E39-240B-4AAE-A435-7A94D1ABF72C}" destId="{75F72556-7815-4BD7-AB66-2EA5590B1CAC}" srcOrd="0" destOrd="0" presId="urn:microsoft.com/office/officeart/2005/8/layout/default#1"/>
    <dgm:cxn modelId="{324E073E-0BA7-492E-84DF-3AB9CB4588D4}" type="presOf" srcId="{5D7F7AE9-EC14-4A11-8C7F-4FEC07AB2A1D}" destId="{08E31453-BC0D-45B9-B442-7801DFE13C36}" srcOrd="0" destOrd="0" presId="urn:microsoft.com/office/officeart/2005/8/layout/default#1"/>
    <dgm:cxn modelId="{2DA4205C-A9D8-482A-87A9-A9E15989398C}" type="presOf" srcId="{FF3B751A-6B17-4E44-A215-4AA6E466A66E}" destId="{38562D9C-E686-40D8-81B0-EBB88B41A51C}" srcOrd="0" destOrd="0" presId="urn:microsoft.com/office/officeart/2005/8/layout/default#1"/>
    <dgm:cxn modelId="{BB6F745E-7678-4120-9F1A-3276EDCE47BC}" srcId="{7D309E39-240B-4AAE-A435-7A94D1ABF72C}" destId="{BCD130ED-81E2-4163-B091-D8755E126EF2}" srcOrd="5" destOrd="0" parTransId="{BE8DB31B-F92E-4CB9-A197-F01FBB0ABB5B}" sibTransId="{B64DC39F-8796-4DDA-BFD3-55F4EFE615B3}"/>
    <dgm:cxn modelId="{F8B0A141-EA14-4CB7-9CC5-A257EC357437}" srcId="{7D309E39-240B-4AAE-A435-7A94D1ABF72C}" destId="{71CD5780-E336-4BE3-AA0E-E03D336C6729}" srcOrd="0" destOrd="0" parTransId="{C6D533C6-C481-4A20-B538-D30D284B0BBF}" sibTransId="{1A9DB975-33E9-4BA4-9517-BE30FFB3B383}"/>
    <dgm:cxn modelId="{9FEC0469-42E7-40BD-8CF2-8C3386BE8DAB}" type="presOf" srcId="{04CD9E83-F705-44B8-8D18-0EFF204D9CDE}" destId="{3A36586C-5537-4008-926B-06C234337024}" srcOrd="0" destOrd="0" presId="urn:microsoft.com/office/officeart/2005/8/layout/default#1"/>
    <dgm:cxn modelId="{3CA82E5A-D929-48EC-97A2-06628CFD548D}" srcId="{7D309E39-240B-4AAE-A435-7A94D1ABF72C}" destId="{63C0FF67-37A7-4966-B18D-73E29A418242}" srcOrd="2" destOrd="0" parTransId="{4E61F82B-014A-4371-99E8-44F10BF8AE60}" sibTransId="{8D759C58-F2DD-4354-80A0-55586B8E5080}"/>
    <dgm:cxn modelId="{1CFBFC7B-D67F-4792-81B4-0972913EEF06}" srcId="{7D309E39-240B-4AAE-A435-7A94D1ABF72C}" destId="{688834FB-2CEA-43DE-AC74-A652A4D3CA78}" srcOrd="4" destOrd="0" parTransId="{EE46AD0D-1F87-4091-AFAD-578577955DDC}" sibTransId="{436B4E98-15A9-49AF-AB23-4EC69C7A6BAE}"/>
    <dgm:cxn modelId="{9E99A388-DCD7-4C8F-9D1B-409A86767500}" srcId="{7D309E39-240B-4AAE-A435-7A94D1ABF72C}" destId="{41FC4EF4-0161-4562-92F4-8C5194F62C42}" srcOrd="1" destOrd="0" parTransId="{511D72C3-6F55-43AF-9708-C44B47E95253}" sibTransId="{B65C2963-342A-4E66-B50F-430BCC76CA2A}"/>
    <dgm:cxn modelId="{F234DB8D-E02E-4F04-97B2-B587E7B47D51}" srcId="{7D309E39-240B-4AAE-A435-7A94D1ABF72C}" destId="{5D7F7AE9-EC14-4A11-8C7F-4FEC07AB2A1D}" srcOrd="6" destOrd="0" parTransId="{B1EFEEBB-7916-4ADB-AC18-422E02D7F645}" sibTransId="{C6A85638-E354-4428-8EFD-7772C7F7E127}"/>
    <dgm:cxn modelId="{5806568E-419E-4AF0-BFA1-8CA514D40F33}" type="presOf" srcId="{63C0FF67-37A7-4966-B18D-73E29A418242}" destId="{D265066D-B34E-436E-92A3-8BFBD04BE400}" srcOrd="0" destOrd="0" presId="urn:microsoft.com/office/officeart/2005/8/layout/default#1"/>
    <dgm:cxn modelId="{793426B0-0B8B-42C5-869E-9D0F0AE7E194}" srcId="{7D309E39-240B-4AAE-A435-7A94D1ABF72C}" destId="{04CD9E83-F705-44B8-8D18-0EFF204D9CDE}" srcOrd="7" destOrd="0" parTransId="{453A569E-09D1-4312-BA5F-DA3DACFAFD35}" sibTransId="{5F97F125-0495-42EA-9FB1-10EF900F8345}"/>
    <dgm:cxn modelId="{A182D0C6-E13B-49B0-A6FF-B9CC2E433903}" type="presOf" srcId="{688834FB-2CEA-43DE-AC74-A652A4D3CA78}" destId="{1E1BEBE6-40B7-4DCA-B098-1124B915EB17}" srcOrd="0" destOrd="0" presId="urn:microsoft.com/office/officeart/2005/8/layout/default#1"/>
    <dgm:cxn modelId="{B7DB6EEC-8AC2-4100-B342-B4024334F223}" srcId="{7D309E39-240B-4AAE-A435-7A94D1ABF72C}" destId="{FF3B751A-6B17-4E44-A215-4AA6E466A66E}" srcOrd="3" destOrd="0" parTransId="{49182B94-34C6-46B8-B124-58986739932D}" sibTransId="{CBCFC193-2674-404C-AC80-AFA0AA7CD379}"/>
    <dgm:cxn modelId="{E127BBF1-9542-43FE-9E9A-BCF4032CEFBD}" type="presOf" srcId="{71CD5780-E336-4BE3-AA0E-E03D336C6729}" destId="{F503C3E4-AD19-494B-B730-D153178D6EAF}" srcOrd="0" destOrd="0" presId="urn:microsoft.com/office/officeart/2005/8/layout/default#1"/>
    <dgm:cxn modelId="{ED5A25FF-A943-4381-AED9-8C08641F8FE2}" type="presOf" srcId="{41FC4EF4-0161-4562-92F4-8C5194F62C42}" destId="{B85EAB60-08CB-4B14-AD5B-BDF16427A5D7}" srcOrd="0" destOrd="0" presId="urn:microsoft.com/office/officeart/2005/8/layout/default#1"/>
    <dgm:cxn modelId="{42A3F509-EFF9-4867-9E89-C296C146767B}" type="presParOf" srcId="{75F72556-7815-4BD7-AB66-2EA5590B1CAC}" destId="{F503C3E4-AD19-494B-B730-D153178D6EAF}" srcOrd="0" destOrd="0" presId="urn:microsoft.com/office/officeart/2005/8/layout/default#1"/>
    <dgm:cxn modelId="{F882E808-DC89-403B-9832-7E649399F622}" type="presParOf" srcId="{75F72556-7815-4BD7-AB66-2EA5590B1CAC}" destId="{2C39E88A-272A-4F11-B924-C0EDA5BDEE92}" srcOrd="1" destOrd="0" presId="urn:microsoft.com/office/officeart/2005/8/layout/default#1"/>
    <dgm:cxn modelId="{91F1484A-D1F9-44F6-AAD1-F495E598F16F}" type="presParOf" srcId="{75F72556-7815-4BD7-AB66-2EA5590B1CAC}" destId="{B85EAB60-08CB-4B14-AD5B-BDF16427A5D7}" srcOrd="2" destOrd="0" presId="urn:microsoft.com/office/officeart/2005/8/layout/default#1"/>
    <dgm:cxn modelId="{148B2723-AE9B-41CD-A693-ACABB0235A0F}" type="presParOf" srcId="{75F72556-7815-4BD7-AB66-2EA5590B1CAC}" destId="{B1AD242A-559B-4535-B894-4A6E7D7DD827}" srcOrd="3" destOrd="0" presId="urn:microsoft.com/office/officeart/2005/8/layout/default#1"/>
    <dgm:cxn modelId="{A1F4EE6B-9A2A-46B9-9941-6E316841B44D}" type="presParOf" srcId="{75F72556-7815-4BD7-AB66-2EA5590B1CAC}" destId="{D265066D-B34E-436E-92A3-8BFBD04BE400}" srcOrd="4" destOrd="0" presId="urn:microsoft.com/office/officeart/2005/8/layout/default#1"/>
    <dgm:cxn modelId="{B6AC2710-12BB-4C6E-A5BA-BD47D42E898E}" type="presParOf" srcId="{75F72556-7815-4BD7-AB66-2EA5590B1CAC}" destId="{40FF2787-E237-4BD4-845E-3CB8C4CCFEAC}" srcOrd="5" destOrd="0" presId="urn:microsoft.com/office/officeart/2005/8/layout/default#1"/>
    <dgm:cxn modelId="{B175167A-5E49-4EB8-8C15-13F5110243E3}" type="presParOf" srcId="{75F72556-7815-4BD7-AB66-2EA5590B1CAC}" destId="{38562D9C-E686-40D8-81B0-EBB88B41A51C}" srcOrd="6" destOrd="0" presId="urn:microsoft.com/office/officeart/2005/8/layout/default#1"/>
    <dgm:cxn modelId="{731BBE0D-2D62-4E29-AFE2-7ACF52B7F2AB}" type="presParOf" srcId="{75F72556-7815-4BD7-AB66-2EA5590B1CAC}" destId="{C7705A28-19BF-4AAE-ABC0-FCEE89A9C130}" srcOrd="7" destOrd="0" presId="urn:microsoft.com/office/officeart/2005/8/layout/default#1"/>
    <dgm:cxn modelId="{F47D42D8-C88B-464B-8337-075709EC7367}" type="presParOf" srcId="{75F72556-7815-4BD7-AB66-2EA5590B1CAC}" destId="{1E1BEBE6-40B7-4DCA-B098-1124B915EB17}" srcOrd="8" destOrd="0" presId="urn:microsoft.com/office/officeart/2005/8/layout/default#1"/>
    <dgm:cxn modelId="{2FF6FAA5-4F2E-4935-A338-BD572EDA9F94}" type="presParOf" srcId="{75F72556-7815-4BD7-AB66-2EA5590B1CAC}" destId="{58849C93-E631-48DD-82AE-BBAFFCCF33F8}" srcOrd="9" destOrd="0" presId="urn:microsoft.com/office/officeart/2005/8/layout/default#1"/>
    <dgm:cxn modelId="{5B08F0F8-D64C-4CBD-8ABF-5EFD1D6FFBBE}" type="presParOf" srcId="{75F72556-7815-4BD7-AB66-2EA5590B1CAC}" destId="{15A4A373-8A17-4ED8-BB9E-7EC7C9AA9B38}" srcOrd="10" destOrd="0" presId="urn:microsoft.com/office/officeart/2005/8/layout/default#1"/>
    <dgm:cxn modelId="{27A464A9-4D13-4791-B089-40D8AB6DF52B}" type="presParOf" srcId="{75F72556-7815-4BD7-AB66-2EA5590B1CAC}" destId="{CD401C8F-8AAC-4DEE-802B-6CAB9E917291}" srcOrd="11" destOrd="0" presId="urn:microsoft.com/office/officeart/2005/8/layout/default#1"/>
    <dgm:cxn modelId="{232FA447-1A12-44CB-B05B-90902E126F86}" type="presParOf" srcId="{75F72556-7815-4BD7-AB66-2EA5590B1CAC}" destId="{08E31453-BC0D-45B9-B442-7801DFE13C36}" srcOrd="12" destOrd="0" presId="urn:microsoft.com/office/officeart/2005/8/layout/default#1"/>
    <dgm:cxn modelId="{E99B383A-9009-47A2-9B26-2D97A485E79A}" type="presParOf" srcId="{75F72556-7815-4BD7-AB66-2EA5590B1CAC}" destId="{BA089E32-9EC8-4D3A-B023-47BC3D585A46}" srcOrd="13" destOrd="0" presId="urn:microsoft.com/office/officeart/2005/8/layout/default#1"/>
    <dgm:cxn modelId="{C6782E59-B4C8-4AF9-BAC7-0ACDB48585BC}" type="presParOf" srcId="{75F72556-7815-4BD7-AB66-2EA5590B1CAC}" destId="{3A36586C-5537-4008-926B-06C234337024}" srcOrd="14" destOrd="0" presId="urn:microsoft.com/office/officeart/2005/8/layout/defaul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03C3E4-AD19-494B-B730-D153178D6EAF}">
      <dsp:nvSpPr>
        <dsp:cNvPr id="0" name=""/>
        <dsp:cNvSpPr/>
      </dsp:nvSpPr>
      <dsp:spPr>
        <a:xfrm>
          <a:off x="112558" y="36797"/>
          <a:ext cx="2556372" cy="1939315"/>
        </a:xfrm>
        <a:prstGeom prst="rect">
          <a:avLst/>
        </a:prstGeom>
        <a:solidFill>
          <a:schemeClr val="lt1"/>
        </a:solidFill>
        <a:ln w="57150" cap="flat" cmpd="sng" algn="ctr">
          <a:solidFill>
            <a:schemeClr val="accent4"/>
          </a:solidFill>
          <a:prstDash val="solid"/>
        </a:ln>
        <a:effectLst/>
        <a:scene3d>
          <a:camera prst="orthographicFront"/>
          <a:lightRig rig="threePt" dir="t">
            <a:rot lat="0" lon="0" rev="7500000"/>
          </a:lightRig>
        </a:scene3d>
        <a:sp3d>
          <a:bevelT w="114300" prst="hardEdge"/>
        </a:sp3d>
      </dsp:spPr>
      <dsp:style>
        <a:lnRef idx="2">
          <a:schemeClr val="accent4"/>
        </a:lnRef>
        <a:fillRef idx="1">
          <a:schemeClr val="lt1"/>
        </a:fillRef>
        <a:effectRef idx="0">
          <a:schemeClr val="accent4"/>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r>
            <a:rPr lang="en-US" sz="1500" kern="1200" dirty="0"/>
            <a:t>Insecticide treated mosquito nets (Routine and </a:t>
          </a:r>
          <a:r>
            <a:rPr lang="en-US" sz="1400" kern="1200" dirty="0"/>
            <a:t>campaign</a:t>
          </a:r>
          <a:r>
            <a:rPr lang="en-US" sz="1500" kern="1200" dirty="0"/>
            <a:t>)</a:t>
          </a:r>
        </a:p>
      </dsp:txBody>
      <dsp:txXfrm>
        <a:off x="112558" y="36797"/>
        <a:ext cx="2556372" cy="1939315"/>
      </dsp:txXfrm>
    </dsp:sp>
    <dsp:sp modelId="{B85EAB60-08CB-4B14-AD5B-BDF16427A5D7}">
      <dsp:nvSpPr>
        <dsp:cNvPr id="0" name=""/>
        <dsp:cNvSpPr/>
      </dsp:nvSpPr>
      <dsp:spPr>
        <a:xfrm>
          <a:off x="2996784" y="28301"/>
          <a:ext cx="2556372" cy="1939315"/>
        </a:xfrm>
        <a:prstGeom prst="rect">
          <a:avLst/>
        </a:prstGeom>
        <a:solidFill>
          <a:schemeClr val="lt1"/>
        </a:solidFill>
        <a:ln w="57150" cap="flat" cmpd="sng" algn="ctr">
          <a:solidFill>
            <a:schemeClr val="accent2"/>
          </a:solidFill>
          <a:prstDash val="solid"/>
        </a:ln>
        <a:effectLst/>
        <a:scene3d>
          <a:camera prst="orthographicFront"/>
          <a:lightRig rig="threePt" dir="t">
            <a:rot lat="0" lon="0" rev="7500000"/>
          </a:lightRig>
        </a:scene3d>
        <a:sp3d>
          <a:bevelT w="114300" prst="hardEdge"/>
        </a:sp3d>
      </dsp:spPr>
      <dsp:style>
        <a:lnRef idx="2">
          <a:schemeClr val="accent2"/>
        </a:lnRef>
        <a:fillRef idx="1">
          <a:schemeClr val="lt1"/>
        </a:fillRef>
        <a:effectRef idx="0">
          <a:schemeClr val="accent2"/>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ts val="0"/>
            </a:spcAft>
            <a:buNone/>
          </a:pPr>
          <a:endParaRPr lang="en-US" sz="1500" kern="1200" dirty="0"/>
        </a:p>
        <a:p>
          <a:pPr marL="0" lvl="0" indent="0" algn="ctr" defTabSz="666750">
            <a:lnSpc>
              <a:spcPct val="90000"/>
            </a:lnSpc>
            <a:spcBef>
              <a:spcPct val="0"/>
            </a:spcBef>
            <a:spcAft>
              <a:spcPts val="0"/>
            </a:spcAft>
            <a:buNone/>
          </a:pPr>
          <a:endParaRPr lang="en-US" sz="1500" kern="1200" dirty="0"/>
        </a:p>
        <a:p>
          <a:pPr marL="0" lvl="0" indent="0" algn="ctr" defTabSz="666750">
            <a:lnSpc>
              <a:spcPct val="90000"/>
            </a:lnSpc>
            <a:spcBef>
              <a:spcPct val="0"/>
            </a:spcBef>
            <a:spcAft>
              <a:spcPts val="0"/>
            </a:spcAft>
            <a:buNone/>
          </a:pPr>
          <a:endParaRPr lang="en-US" sz="1500" kern="1200" dirty="0"/>
        </a:p>
        <a:p>
          <a:pPr marL="0" lvl="0" indent="0" algn="ctr" defTabSz="666750">
            <a:lnSpc>
              <a:spcPct val="90000"/>
            </a:lnSpc>
            <a:spcBef>
              <a:spcPct val="0"/>
            </a:spcBef>
            <a:spcAft>
              <a:spcPts val="0"/>
            </a:spcAft>
            <a:buNone/>
          </a:pPr>
          <a:endParaRPr lang="en-US" sz="1500" kern="1200" dirty="0"/>
        </a:p>
        <a:p>
          <a:pPr marL="0" lvl="0" indent="0" algn="ctr" defTabSz="666750">
            <a:lnSpc>
              <a:spcPct val="90000"/>
            </a:lnSpc>
            <a:spcBef>
              <a:spcPct val="0"/>
            </a:spcBef>
            <a:spcAft>
              <a:spcPts val="0"/>
            </a:spcAft>
            <a:buNone/>
          </a:pPr>
          <a:endParaRPr lang="en-US" sz="1500" kern="1200" dirty="0"/>
        </a:p>
        <a:p>
          <a:pPr marL="0" lvl="0" indent="0" algn="ctr" defTabSz="666750">
            <a:lnSpc>
              <a:spcPct val="90000"/>
            </a:lnSpc>
            <a:spcBef>
              <a:spcPct val="0"/>
            </a:spcBef>
            <a:spcAft>
              <a:spcPts val="0"/>
            </a:spcAft>
            <a:buNone/>
          </a:pPr>
          <a:endParaRPr lang="en-US" sz="1500" kern="1200" dirty="0"/>
        </a:p>
        <a:p>
          <a:pPr marL="0" lvl="0" indent="0" algn="ctr" defTabSz="666750">
            <a:lnSpc>
              <a:spcPct val="90000"/>
            </a:lnSpc>
            <a:spcBef>
              <a:spcPct val="0"/>
            </a:spcBef>
            <a:spcAft>
              <a:spcPts val="0"/>
            </a:spcAft>
            <a:buNone/>
          </a:pPr>
          <a:endParaRPr lang="en-US" sz="1500" kern="1200" dirty="0"/>
        </a:p>
        <a:p>
          <a:pPr marL="0" lvl="0" indent="0" algn="ctr" defTabSz="666750">
            <a:lnSpc>
              <a:spcPct val="90000"/>
            </a:lnSpc>
            <a:spcBef>
              <a:spcPct val="0"/>
            </a:spcBef>
            <a:spcAft>
              <a:spcPts val="0"/>
            </a:spcAft>
            <a:buNone/>
          </a:pPr>
          <a:r>
            <a:rPr lang="en-US" sz="1500" kern="1200" dirty="0"/>
            <a:t>Spray houses with </a:t>
          </a:r>
        </a:p>
        <a:p>
          <a:pPr marL="0" lvl="0" indent="0" algn="ctr" defTabSz="666750">
            <a:lnSpc>
              <a:spcPct val="90000"/>
            </a:lnSpc>
            <a:spcBef>
              <a:spcPct val="0"/>
            </a:spcBef>
            <a:spcAft>
              <a:spcPts val="0"/>
            </a:spcAft>
            <a:buNone/>
          </a:pPr>
          <a:r>
            <a:rPr lang="en-US" sz="1500" kern="1200" dirty="0"/>
            <a:t>insecticide (IRS)</a:t>
          </a:r>
        </a:p>
      </dsp:txBody>
      <dsp:txXfrm>
        <a:off x="2996784" y="28301"/>
        <a:ext cx="2556372" cy="1939315"/>
      </dsp:txXfrm>
    </dsp:sp>
    <dsp:sp modelId="{D265066D-B34E-436E-92A3-8BFBD04BE400}">
      <dsp:nvSpPr>
        <dsp:cNvPr id="0" name=""/>
        <dsp:cNvSpPr/>
      </dsp:nvSpPr>
      <dsp:spPr>
        <a:xfrm>
          <a:off x="6052077" y="38204"/>
          <a:ext cx="2556372" cy="1939315"/>
        </a:xfrm>
        <a:prstGeom prst="rect">
          <a:avLst/>
        </a:prstGeom>
        <a:solidFill>
          <a:schemeClr val="lt1"/>
        </a:solidFill>
        <a:ln w="57150" cap="flat" cmpd="sng" algn="ctr">
          <a:solidFill>
            <a:schemeClr val="accent6"/>
          </a:solidFill>
          <a:prstDash val="solid"/>
        </a:ln>
        <a:effectLst/>
        <a:scene3d>
          <a:camera prst="orthographicFront"/>
          <a:lightRig rig="threePt" dir="t">
            <a:rot lat="0" lon="0" rev="7500000"/>
          </a:lightRig>
        </a:scene3d>
        <a:sp3d>
          <a:bevelT w="114300" prst="hardEdge"/>
        </a:sp3d>
      </dsp:spPr>
      <dsp:style>
        <a:lnRef idx="2">
          <a:schemeClr val="accent6"/>
        </a:lnRef>
        <a:fillRef idx="1">
          <a:schemeClr val="lt1"/>
        </a:fillRef>
        <a:effectRef idx="0">
          <a:schemeClr val="accent6"/>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a:lnSpc>
              <a:spcPct val="100000"/>
            </a:lnSpc>
            <a:spcBef>
              <a:spcPct val="0"/>
            </a:spcBef>
            <a:spcAft>
              <a:spcPts val="0"/>
            </a:spcAft>
            <a:buNone/>
          </a:pPr>
          <a:endParaRPr lang="en-US" sz="1500" kern="1200" dirty="0"/>
        </a:p>
        <a:p>
          <a:pPr marL="0" lvl="0" indent="0" algn="ctr" defTabSz="666750">
            <a:lnSpc>
              <a:spcPct val="100000"/>
            </a:lnSpc>
            <a:spcBef>
              <a:spcPct val="0"/>
            </a:spcBef>
            <a:spcAft>
              <a:spcPts val="0"/>
            </a:spcAft>
            <a:buNone/>
          </a:pPr>
          <a:endParaRPr lang="en-US" sz="1500" kern="1200" dirty="0"/>
        </a:p>
        <a:p>
          <a:pPr marL="0" lvl="0" indent="0" algn="ctr" defTabSz="666750">
            <a:lnSpc>
              <a:spcPct val="100000"/>
            </a:lnSpc>
            <a:spcBef>
              <a:spcPct val="0"/>
            </a:spcBef>
            <a:spcAft>
              <a:spcPts val="0"/>
            </a:spcAft>
            <a:buNone/>
          </a:pPr>
          <a:endParaRPr lang="en-US" sz="1500" kern="1200" dirty="0"/>
        </a:p>
        <a:p>
          <a:pPr marL="0" lvl="0" indent="0" algn="ctr" defTabSz="666750">
            <a:lnSpc>
              <a:spcPct val="100000"/>
            </a:lnSpc>
            <a:spcBef>
              <a:spcPct val="0"/>
            </a:spcBef>
            <a:spcAft>
              <a:spcPts val="0"/>
            </a:spcAft>
            <a:buNone/>
          </a:pPr>
          <a:endParaRPr lang="en-US" sz="1500" kern="1200" dirty="0"/>
        </a:p>
        <a:p>
          <a:pPr marL="0" lvl="0" indent="0" algn="ctr" defTabSz="666750">
            <a:lnSpc>
              <a:spcPct val="100000"/>
            </a:lnSpc>
            <a:spcBef>
              <a:spcPct val="0"/>
            </a:spcBef>
            <a:spcAft>
              <a:spcPts val="0"/>
            </a:spcAft>
            <a:buNone/>
          </a:pPr>
          <a:endParaRPr lang="en-US" sz="1500" kern="1200" dirty="0"/>
        </a:p>
        <a:p>
          <a:pPr marL="0" lvl="0" indent="0" algn="ctr" defTabSz="666750">
            <a:lnSpc>
              <a:spcPct val="100000"/>
            </a:lnSpc>
            <a:spcBef>
              <a:spcPct val="0"/>
            </a:spcBef>
            <a:spcAft>
              <a:spcPts val="0"/>
            </a:spcAft>
            <a:buNone/>
          </a:pPr>
          <a:endParaRPr lang="en-US" sz="1500" kern="1200" dirty="0"/>
        </a:p>
        <a:p>
          <a:pPr marL="0" lvl="0" indent="0" algn="ctr" defTabSz="666750">
            <a:lnSpc>
              <a:spcPct val="100000"/>
            </a:lnSpc>
            <a:spcBef>
              <a:spcPct val="0"/>
            </a:spcBef>
            <a:spcAft>
              <a:spcPts val="0"/>
            </a:spcAft>
            <a:buNone/>
          </a:pPr>
          <a:r>
            <a:rPr lang="en-US" sz="1500" b="0" kern="1200" dirty="0"/>
            <a:t>Larvicide to kill </a:t>
          </a:r>
          <a:br>
            <a:rPr lang="en-US" sz="1500" b="0" kern="1200" dirty="0"/>
          </a:br>
          <a:r>
            <a:rPr lang="en-US" sz="1500" b="0" kern="1200" dirty="0"/>
            <a:t>mosquito larvae </a:t>
          </a:r>
          <a:endParaRPr lang="en-US" sz="1500" kern="1200" dirty="0"/>
        </a:p>
      </dsp:txBody>
      <dsp:txXfrm>
        <a:off x="6052077" y="38204"/>
        <a:ext cx="2556372" cy="1939315"/>
      </dsp:txXfrm>
    </dsp:sp>
    <dsp:sp modelId="{38562D9C-E686-40D8-81B0-EBB88B41A51C}">
      <dsp:nvSpPr>
        <dsp:cNvPr id="0" name=""/>
        <dsp:cNvSpPr/>
      </dsp:nvSpPr>
      <dsp:spPr>
        <a:xfrm>
          <a:off x="121602" y="2270692"/>
          <a:ext cx="2556372" cy="1939315"/>
        </a:xfrm>
        <a:prstGeom prst="rect">
          <a:avLst/>
        </a:prstGeom>
        <a:solidFill>
          <a:schemeClr val="lt1"/>
        </a:solidFill>
        <a:ln w="57150" cap="flat" cmpd="sng" algn="ctr">
          <a:solidFill>
            <a:schemeClr val="accent1"/>
          </a:solidFill>
          <a:prstDash val="solid"/>
        </a:ln>
        <a:effectLst/>
        <a:scene3d>
          <a:camera prst="orthographicFront"/>
          <a:lightRig rig="threePt" dir="t">
            <a:rot lat="0" lon="0" rev="7500000"/>
          </a:lightRig>
        </a:scene3d>
        <a:sp3d>
          <a:bevelT w="114300" prst="hardEdge"/>
        </a:sp3d>
      </dsp:spPr>
      <dsp:style>
        <a:lnRef idx="2">
          <a:schemeClr val="accent1"/>
        </a:lnRef>
        <a:fillRef idx="1">
          <a:schemeClr val="lt1"/>
        </a:fillRef>
        <a:effectRef idx="0">
          <a:schemeClr val="accent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endParaRPr lang="en-US" sz="1500" b="0" kern="1200" dirty="0"/>
        </a:p>
        <a:p>
          <a:pPr marL="0" lvl="0" indent="0" algn="ctr" defTabSz="666750">
            <a:lnSpc>
              <a:spcPct val="90000"/>
            </a:lnSpc>
            <a:spcBef>
              <a:spcPct val="0"/>
            </a:spcBef>
            <a:spcAft>
              <a:spcPct val="35000"/>
            </a:spcAft>
            <a:buNone/>
          </a:pPr>
          <a:endParaRPr lang="en-US" sz="1500" b="0" kern="1200" dirty="0"/>
        </a:p>
        <a:p>
          <a:pPr marL="0" lvl="0" indent="0" algn="ctr" defTabSz="666750">
            <a:lnSpc>
              <a:spcPct val="90000"/>
            </a:lnSpc>
            <a:spcBef>
              <a:spcPct val="0"/>
            </a:spcBef>
            <a:spcAft>
              <a:spcPct val="35000"/>
            </a:spcAft>
            <a:buNone/>
          </a:pPr>
          <a:endParaRPr lang="en-US" sz="1500" b="0" kern="1200" dirty="0"/>
        </a:p>
        <a:p>
          <a:pPr marL="0" lvl="0" indent="0" algn="ctr" defTabSz="666750">
            <a:lnSpc>
              <a:spcPct val="90000"/>
            </a:lnSpc>
            <a:spcBef>
              <a:spcPct val="0"/>
            </a:spcBef>
            <a:spcAft>
              <a:spcPct val="35000"/>
            </a:spcAft>
            <a:buNone/>
          </a:pPr>
          <a:endParaRPr lang="en-US" sz="1500" b="0" kern="1200" dirty="0"/>
        </a:p>
        <a:p>
          <a:pPr marL="0" lvl="0" indent="0" algn="ctr" defTabSz="666750">
            <a:lnSpc>
              <a:spcPct val="90000"/>
            </a:lnSpc>
            <a:spcBef>
              <a:spcPct val="0"/>
            </a:spcBef>
            <a:spcAft>
              <a:spcPct val="35000"/>
            </a:spcAft>
            <a:buNone/>
          </a:pPr>
          <a:endParaRPr lang="en-US" sz="1500" b="0" kern="1200" dirty="0"/>
        </a:p>
        <a:p>
          <a:pPr marL="0" lvl="0" indent="0" algn="ctr" defTabSz="666750">
            <a:lnSpc>
              <a:spcPct val="90000"/>
            </a:lnSpc>
            <a:spcBef>
              <a:spcPct val="0"/>
            </a:spcBef>
            <a:spcAft>
              <a:spcPct val="35000"/>
            </a:spcAft>
            <a:buFont typeface="+mj-lt"/>
            <a:buNone/>
          </a:pPr>
          <a:r>
            <a:rPr lang="en-US" sz="1500" b="0" kern="1200" dirty="0"/>
            <a:t>Communication on malaria treatment and prevention </a:t>
          </a:r>
          <a:endParaRPr lang="en-US" sz="1500" kern="1200" dirty="0"/>
        </a:p>
      </dsp:txBody>
      <dsp:txXfrm>
        <a:off x="121602" y="2270692"/>
        <a:ext cx="2556372" cy="1939315"/>
      </dsp:txXfrm>
    </dsp:sp>
    <dsp:sp modelId="{1E1BEBE6-40B7-4DCA-B098-1124B915EB17}">
      <dsp:nvSpPr>
        <dsp:cNvPr id="0" name=""/>
        <dsp:cNvSpPr/>
      </dsp:nvSpPr>
      <dsp:spPr>
        <a:xfrm>
          <a:off x="2971146" y="2270692"/>
          <a:ext cx="2556372" cy="1939315"/>
        </a:xfrm>
        <a:prstGeom prst="rect">
          <a:avLst/>
        </a:prstGeom>
        <a:solidFill>
          <a:schemeClr val="lt1"/>
        </a:solidFill>
        <a:ln w="57150" cap="flat" cmpd="sng" algn="ctr">
          <a:solidFill>
            <a:schemeClr val="accent3"/>
          </a:solidFill>
          <a:prstDash val="solid"/>
        </a:ln>
        <a:effectLst/>
        <a:scene3d>
          <a:camera prst="orthographicFront"/>
          <a:lightRig rig="threePt" dir="t">
            <a:rot lat="0" lon="0" rev="7500000"/>
          </a:lightRig>
        </a:scene3d>
        <a:sp3d>
          <a:bevelT w="114300" prst="hardEdge"/>
        </a:sp3d>
      </dsp:spPr>
      <dsp:style>
        <a:lnRef idx="2">
          <a:schemeClr val="accent3"/>
        </a:lnRef>
        <a:fillRef idx="1">
          <a:schemeClr val="lt1"/>
        </a:fillRef>
        <a:effectRef idx="0">
          <a:schemeClr val="accent3"/>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Font typeface="+mj-lt"/>
            <a:buNone/>
          </a:pPr>
          <a:endParaRPr lang="en-US" sz="1500" b="0" kern="1200" dirty="0"/>
        </a:p>
        <a:p>
          <a:pPr marL="0" lvl="0" indent="0" algn="ctr" defTabSz="666750">
            <a:lnSpc>
              <a:spcPct val="90000"/>
            </a:lnSpc>
            <a:spcBef>
              <a:spcPct val="0"/>
            </a:spcBef>
            <a:spcAft>
              <a:spcPct val="35000"/>
            </a:spcAft>
            <a:buFont typeface="+mj-lt"/>
            <a:buNone/>
          </a:pPr>
          <a:endParaRPr lang="en-US" sz="1500" b="0" kern="1200" dirty="0"/>
        </a:p>
        <a:p>
          <a:pPr marL="0" lvl="0" indent="0" algn="ctr" defTabSz="666750">
            <a:lnSpc>
              <a:spcPct val="90000"/>
            </a:lnSpc>
            <a:spcBef>
              <a:spcPct val="0"/>
            </a:spcBef>
            <a:spcAft>
              <a:spcPct val="35000"/>
            </a:spcAft>
            <a:buFont typeface="+mj-lt"/>
            <a:buNone/>
          </a:pPr>
          <a:endParaRPr lang="en-US" sz="1500" b="0" kern="1200" dirty="0"/>
        </a:p>
        <a:p>
          <a:pPr marL="0" lvl="0" indent="0" algn="ctr" defTabSz="666750">
            <a:lnSpc>
              <a:spcPct val="90000"/>
            </a:lnSpc>
            <a:spcBef>
              <a:spcPct val="0"/>
            </a:spcBef>
            <a:spcAft>
              <a:spcPct val="35000"/>
            </a:spcAft>
            <a:buFont typeface="+mj-lt"/>
            <a:buNone/>
          </a:pPr>
          <a:endParaRPr lang="en-US" sz="1500" b="0" kern="1200" dirty="0"/>
        </a:p>
        <a:p>
          <a:pPr marL="0" lvl="0" indent="0" algn="ctr" defTabSz="666750">
            <a:lnSpc>
              <a:spcPct val="90000"/>
            </a:lnSpc>
            <a:spcBef>
              <a:spcPct val="0"/>
            </a:spcBef>
            <a:spcAft>
              <a:spcPct val="35000"/>
            </a:spcAft>
            <a:buFont typeface="+mj-lt"/>
            <a:buNone/>
          </a:pPr>
          <a:endParaRPr lang="en-US" sz="1500" b="0" kern="1200" dirty="0"/>
        </a:p>
        <a:p>
          <a:pPr marL="0" lvl="0" indent="0" algn="ctr" defTabSz="666750">
            <a:lnSpc>
              <a:spcPct val="90000"/>
            </a:lnSpc>
            <a:spcBef>
              <a:spcPct val="0"/>
            </a:spcBef>
            <a:spcAft>
              <a:spcPct val="35000"/>
            </a:spcAft>
            <a:buFont typeface="+mj-lt"/>
            <a:buNone/>
          </a:pPr>
          <a:r>
            <a:rPr lang="en-US" sz="1500" b="0" kern="1200" dirty="0"/>
            <a:t>Test all fevers </a:t>
          </a:r>
          <a:br>
            <a:rPr lang="en-US" sz="1500" b="0" kern="1200" dirty="0"/>
          </a:br>
          <a:r>
            <a:rPr lang="en-US" sz="1500" b="0" kern="1200" dirty="0"/>
            <a:t>(Rapid test / blood slide)</a:t>
          </a:r>
          <a:endParaRPr lang="en-US" sz="1500" kern="1200" dirty="0"/>
        </a:p>
      </dsp:txBody>
      <dsp:txXfrm>
        <a:off x="2971146" y="2270692"/>
        <a:ext cx="2556372" cy="1939315"/>
      </dsp:txXfrm>
    </dsp:sp>
    <dsp:sp modelId="{15A4A373-8A17-4ED8-BB9E-7EC7C9AA9B38}">
      <dsp:nvSpPr>
        <dsp:cNvPr id="0" name=""/>
        <dsp:cNvSpPr/>
      </dsp:nvSpPr>
      <dsp:spPr>
        <a:xfrm>
          <a:off x="5820691" y="2270692"/>
          <a:ext cx="3019144" cy="1939315"/>
        </a:xfrm>
        <a:prstGeom prst="rect">
          <a:avLst/>
        </a:prstGeom>
        <a:solidFill>
          <a:schemeClr val="lt1"/>
        </a:solidFill>
        <a:ln w="57150" cap="flat" cmpd="sng" algn="ctr">
          <a:solidFill>
            <a:schemeClr val="dk1"/>
          </a:solidFill>
          <a:prstDash val="solid"/>
        </a:ln>
        <a:effectLst/>
        <a:scene3d>
          <a:camera prst="orthographicFront"/>
          <a:lightRig rig="threePt" dir="t">
            <a:rot lat="0" lon="0" rev="7500000"/>
          </a:lightRig>
        </a:scene3d>
        <a:sp3d>
          <a:bevelT w="114300" prst="hardEdge"/>
        </a:sp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Font typeface="+mj-lt"/>
            <a:buNone/>
          </a:pPr>
          <a:endParaRPr lang="en-US" sz="1500" b="0" kern="1200" dirty="0"/>
        </a:p>
        <a:p>
          <a:pPr marL="0" lvl="0" indent="0" algn="ctr" defTabSz="666750">
            <a:lnSpc>
              <a:spcPct val="90000"/>
            </a:lnSpc>
            <a:spcBef>
              <a:spcPct val="0"/>
            </a:spcBef>
            <a:spcAft>
              <a:spcPct val="35000"/>
            </a:spcAft>
            <a:buFont typeface="+mj-lt"/>
            <a:buNone/>
          </a:pPr>
          <a:endParaRPr lang="en-US" sz="1500" b="0" kern="1200" dirty="0"/>
        </a:p>
        <a:p>
          <a:pPr marL="0" lvl="0" indent="0" algn="ctr" defTabSz="666750">
            <a:lnSpc>
              <a:spcPct val="90000"/>
            </a:lnSpc>
            <a:spcBef>
              <a:spcPct val="0"/>
            </a:spcBef>
            <a:spcAft>
              <a:spcPct val="35000"/>
            </a:spcAft>
            <a:buFont typeface="+mj-lt"/>
            <a:buNone/>
          </a:pPr>
          <a:endParaRPr lang="en-US" sz="1500" b="0" kern="1200" dirty="0"/>
        </a:p>
        <a:p>
          <a:pPr marL="0" lvl="0" indent="0" algn="ctr" defTabSz="666750">
            <a:lnSpc>
              <a:spcPct val="90000"/>
            </a:lnSpc>
            <a:spcBef>
              <a:spcPct val="0"/>
            </a:spcBef>
            <a:spcAft>
              <a:spcPct val="35000"/>
            </a:spcAft>
            <a:buFont typeface="+mj-lt"/>
            <a:buNone/>
          </a:pPr>
          <a:endParaRPr lang="en-US" sz="1500" b="0" kern="1200" dirty="0"/>
        </a:p>
        <a:p>
          <a:pPr marL="0" lvl="0" indent="0" algn="ctr" defTabSz="666750">
            <a:lnSpc>
              <a:spcPct val="90000"/>
            </a:lnSpc>
            <a:spcBef>
              <a:spcPct val="0"/>
            </a:spcBef>
            <a:spcAft>
              <a:spcPct val="35000"/>
            </a:spcAft>
            <a:buFont typeface="+mj-lt"/>
            <a:buNone/>
          </a:pPr>
          <a:r>
            <a:rPr lang="en-US" sz="1500" kern="1200" dirty="0"/>
            <a:t>Malaria medicine: Mass drug administration (MDA) or treatment to all confirmed cases (ACT)</a:t>
          </a:r>
        </a:p>
      </dsp:txBody>
      <dsp:txXfrm>
        <a:off x="5820691" y="2270692"/>
        <a:ext cx="3019144" cy="1939315"/>
      </dsp:txXfrm>
    </dsp:sp>
    <dsp:sp modelId="{08E31453-BC0D-45B9-B442-7801DFE13C36}">
      <dsp:nvSpPr>
        <dsp:cNvPr id="0" name=""/>
        <dsp:cNvSpPr/>
      </dsp:nvSpPr>
      <dsp:spPr>
        <a:xfrm>
          <a:off x="111576" y="4425958"/>
          <a:ext cx="2572174" cy="1099201"/>
        </a:xfrm>
        <a:prstGeom prst="rect">
          <a:avLst/>
        </a:prstGeom>
        <a:noFill/>
        <a:ln w="57150">
          <a:solidFill>
            <a:srgbClr val="7030A0"/>
          </a:solidFill>
        </a:ln>
        <a:effectLst/>
        <a:scene3d>
          <a:camera prst="orthographicFront"/>
          <a:lightRig rig="threePt" dir="t">
            <a:rot lat="0" lon="0" rev="7500000"/>
          </a:lightRig>
        </a:scene3d>
        <a:sp3d prstMaterial="plastic">
          <a:bevelT w="114300" prst="hardEdg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endParaRPr lang="en-US" sz="1500" kern="1200" dirty="0">
            <a:solidFill>
              <a:schemeClr val="tx1"/>
            </a:solidFill>
          </a:endParaRPr>
        </a:p>
        <a:p>
          <a:pPr marL="0" lvl="0" indent="0" algn="ctr" defTabSz="666750">
            <a:lnSpc>
              <a:spcPct val="90000"/>
            </a:lnSpc>
            <a:spcBef>
              <a:spcPct val="0"/>
            </a:spcBef>
            <a:spcAft>
              <a:spcPct val="35000"/>
            </a:spcAft>
            <a:buNone/>
          </a:pPr>
          <a:r>
            <a:rPr lang="en-US" sz="1500" kern="1200" dirty="0">
              <a:solidFill>
                <a:schemeClr val="tx1"/>
              </a:solidFill>
            </a:rPr>
            <a:t>Target at-risk populations</a:t>
          </a:r>
        </a:p>
      </dsp:txBody>
      <dsp:txXfrm>
        <a:off x="111576" y="4425958"/>
        <a:ext cx="2572174" cy="1099201"/>
      </dsp:txXfrm>
    </dsp:sp>
    <dsp:sp modelId="{3A36586C-5537-4008-926B-06C234337024}">
      <dsp:nvSpPr>
        <dsp:cNvPr id="0" name=""/>
        <dsp:cNvSpPr/>
      </dsp:nvSpPr>
      <dsp:spPr>
        <a:xfrm>
          <a:off x="2977479" y="4406380"/>
          <a:ext cx="2528667" cy="1099201"/>
        </a:xfrm>
        <a:prstGeom prst="rect">
          <a:avLst/>
        </a:prstGeom>
        <a:solidFill>
          <a:schemeClr val="lt1"/>
        </a:solidFill>
        <a:ln w="57150" cap="flat" cmpd="sng" algn="ctr">
          <a:solidFill>
            <a:srgbClr val="C00000"/>
          </a:solidFill>
          <a:prstDash val="solid"/>
        </a:ln>
        <a:effectLst/>
        <a:scene3d>
          <a:camera prst="orthographicFront"/>
          <a:lightRig rig="threePt" dir="t">
            <a:rot lat="0" lon="0" rev="7500000"/>
          </a:lightRig>
        </a:scene3d>
        <a:sp3d>
          <a:bevelT w="114300" prst="hardEdge"/>
        </a:sp3d>
      </dsp:spPr>
      <dsp:style>
        <a:lnRef idx="2">
          <a:schemeClr val="accent1"/>
        </a:lnRef>
        <a:fillRef idx="1">
          <a:schemeClr val="lt1"/>
        </a:fillRef>
        <a:effectRef idx="0">
          <a:schemeClr val="accent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endParaRPr lang="en-US" sz="1500" kern="1200" dirty="0"/>
        </a:p>
        <a:p>
          <a:pPr marL="0" lvl="0" indent="0" algn="ctr" defTabSz="666750">
            <a:lnSpc>
              <a:spcPct val="90000"/>
            </a:lnSpc>
            <a:spcBef>
              <a:spcPct val="0"/>
            </a:spcBef>
            <a:spcAft>
              <a:spcPct val="35000"/>
            </a:spcAft>
            <a:buNone/>
          </a:pPr>
          <a:r>
            <a:rPr lang="en-US" sz="1500" b="0" kern="1200" cap="none" spc="0" dirty="0">
              <a:ln w="0"/>
              <a:solidFill>
                <a:schemeClr val="tx1"/>
              </a:solidFill>
              <a:effectLst/>
            </a:rPr>
            <a:t>Surveillance and M&amp;E</a:t>
          </a:r>
        </a:p>
      </dsp:txBody>
      <dsp:txXfrm>
        <a:off x="2977479" y="4406380"/>
        <a:ext cx="2528667" cy="1099201"/>
      </dsp:txXfrm>
    </dsp:sp>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off" val="ctr"/>
          <dgm:param type="contDir" val="sameDir"/>
          <dgm:param type="grDir" val="tL"/>
          <dgm:param type="flowDir" val="row"/>
        </dgm:alg>
      </dgm:if>
      <dgm:else name="Name2">
        <dgm:alg type="snake">
          <dgm:param type="off" val="ctr"/>
          <dgm:param type="contDir" val="sameDir"/>
          <dgm:param type="grDir" val="tR"/>
          <dgm:param type="flowDir" val="row"/>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1">
  <dgm:title val=""/>
  <dgm:desc val=""/>
  <dgm:catLst>
    <dgm:cat type="3D" pri="11200"/>
  </dgm:catLst>
  <dgm:scene3d>
    <a:camera prst="orthographicFront"/>
    <a:lightRig rig="threePt" dir="t"/>
  </dgm:scene3d>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98513" y="579438"/>
            <a:ext cx="5419725" cy="40640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7700" y="4962911"/>
            <a:ext cx="5974023" cy="1223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256224" y="8870550"/>
            <a:ext cx="556145" cy="183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12301" y="95270"/>
            <a:ext cx="66" cy="122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827337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0" y="4962911"/>
            <a:ext cx="5974023" cy="10587514"/>
          </a:xfrm>
        </p:spPr>
        <p:txBody>
          <a:bodyPr/>
          <a:lstStyle/>
          <a:p>
            <a:r>
              <a:rPr lang="en-US" dirty="0"/>
              <a:t>So how can we use the scorecard to prioritize which problems to address?</a:t>
            </a:r>
          </a:p>
          <a:p>
            <a:endParaRPr lang="en-US" dirty="0"/>
          </a:p>
          <a:p>
            <a:r>
              <a:rPr lang="en-US" dirty="0"/>
              <a:t>Each cell on the scorecard has three dimensions to help guide your analysis: a colour, a data value, and sometimes an arrow.</a:t>
            </a:r>
          </a:p>
          <a:p>
            <a:endParaRPr lang="en-US" dirty="0"/>
          </a:p>
          <a:p>
            <a:r>
              <a:rPr lang="en-US" dirty="0"/>
              <a:t>The colour shows whether an indicator is performing well or poorly relative to the national target set by the country. If the indicator is showing red, it means the associated geographic Province is not meeting target. If it is green, it is meeting target, and if yellow, more progress is need to achieve the target. A grey cell means the indicator is not applicable for that geographic location for that period and a white cell means there is no data. An indicator that is performing green may be worth highlighting as a best practice that can be scaled up to other Provinces.</a:t>
            </a:r>
          </a:p>
          <a:p>
            <a:endParaRPr lang="en-US" dirty="0"/>
          </a:p>
          <a:p>
            <a:r>
              <a:rPr lang="en-US" dirty="0"/>
              <a:t>The data values on the scorecard come from various existing local routine data sources. Most scorecard indicators are configured in percentage format, whole number, or decimal, though it is possible to include other formats. In some cases, it is better for the value of an indicator to go up. For example, in the case of Vitamin A coverage, a higher percentage is good and a lower percentage is bad. For other indicators a lower number is considered to be good. For example, in the case of malaria incidence, a lower number is considered to be good.</a:t>
            </a:r>
          </a:p>
          <a:p>
            <a:endParaRPr lang="en-US" dirty="0"/>
          </a:p>
          <a:p>
            <a:r>
              <a:rPr lang="en-US" dirty="0"/>
              <a:t>In addition to the colour and data value, sometimes the scorecard will show an arrow. An arrow will only appear if the performance has changed compared to the previous scorecard or the previous year. For example, if the arrow threshold set by a country is 5%, then an arrow will only show if the percentage increases or decreases by 5 or more points. So if there were a decrease from 50% in Q1 2020 to 45% in Q2 2020, the scorecard in Q2 2020 would show a down arrow, signifying the number has gone down.  It is important to note that a green colour indicator with a down arrow may also highlight a priority, since it means the gains are not being sustained and the green may turn to yellow or red eventually. </a:t>
            </a:r>
          </a:p>
          <a:p>
            <a:endParaRPr lang="en-US" dirty="0"/>
          </a:p>
          <a:p>
            <a:r>
              <a:rPr lang="en-US" dirty="0"/>
              <a:t>The colour, the arrow and data value can help to guide the scorecard analysis and prioritization. A red with an arrow showing that the performance is bad and getting worse, is a very high priority. </a:t>
            </a:r>
          </a:p>
        </p:txBody>
      </p:sp>
      <p:sp>
        <p:nvSpPr>
          <p:cNvPr id="4" name="Slide Number Placeholder 3"/>
          <p:cNvSpPr>
            <a:spLocks noGrp="1"/>
          </p:cNvSpPr>
          <p:nvPr>
            <p:ph type="sldNum" sz="quarter" idx="5"/>
          </p:nvPr>
        </p:nvSpPr>
        <p:spPr/>
        <p:txBody>
          <a:bodyPr/>
          <a:lstStyle/>
          <a:p>
            <a:fld id="{2DD8EC6B-DF06-45DB-A092-698F8158B631}" type="slidenum">
              <a:rPr lang="en-US" smtClean="0"/>
              <a:t>37</a:t>
            </a:fld>
            <a:endParaRPr lang="en-US"/>
          </a:p>
        </p:txBody>
      </p:sp>
    </p:spTree>
    <p:extLst>
      <p:ext uri="{BB962C8B-B14F-4D97-AF65-F5344CB8AC3E}">
        <p14:creationId xmlns:p14="http://schemas.microsoft.com/office/powerpoint/2010/main" val="29948119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0" y="4962911"/>
            <a:ext cx="5974023" cy="7386638"/>
          </a:xfrm>
        </p:spPr>
        <p:txBody>
          <a:bodyPr/>
          <a:lstStyle/>
          <a:p>
            <a:r>
              <a:rPr lang="en-US" dirty="0"/>
              <a:t>The scorecard web platform allows users to open sub-Provinces to see the performance of the lower levels, allowing for a more targeted analysis showing where the problem is. </a:t>
            </a:r>
          </a:p>
          <a:p>
            <a:r>
              <a:rPr lang="en-US" dirty="0"/>
              <a:t>Opening sub-Provinces, or drilling down as it is called, is an important strategy for finding which geographic locations are contributing the most to underperformance.</a:t>
            </a:r>
          </a:p>
          <a:p>
            <a:endParaRPr lang="en-US" dirty="0"/>
          </a:p>
          <a:p>
            <a:r>
              <a:rPr lang="en-US" dirty="0"/>
              <a:t>Take the example in front of you. In the case of the indicator for “Proportion of pregnant women who received at least three or more doses of IPT”, it is clear that Province E is the priority. That indicator in Province E is showing red, at 15%, with a down arrow. It is a bad situation getting worse. </a:t>
            </a:r>
          </a:p>
          <a:p>
            <a:endParaRPr lang="en-US" dirty="0"/>
          </a:p>
          <a:p>
            <a:r>
              <a:rPr lang="en-US" dirty="0"/>
              <a:t>However, to understand the situation better, it is important to open Province E to see how it’s Districts are performing. To see the Districts, in the online web platform, click on the arrow next to the name of the </a:t>
            </a:r>
            <a:r>
              <a:rPr lang="en-US" dirty="0" err="1"/>
              <a:t>subProvince</a:t>
            </a:r>
            <a:r>
              <a:rPr lang="en-US" dirty="0"/>
              <a:t>. In this example, clicking on the arrow next to Province E, will displays two Districts. However, only one of those Districts, “District 9”, is showing poor performance, at 20% with a down arrow. This means it is district 9 that is contributing the most to the underperformance in Province E and District 9 is where the programme should focus its effort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me country scorecards even go down to facility level. In this example, upon opening District 9, it is possible to see that it is actually facility 12 that is mostly contributing to the underperformance. In this way, it is possible to do targeted analysis to create targeted solutions.</a:t>
            </a:r>
          </a:p>
          <a:p>
            <a:endParaRPr lang="en-US" dirty="0"/>
          </a:p>
          <a:p>
            <a:r>
              <a:rPr lang="en-US" dirty="0"/>
              <a:t> </a:t>
            </a:r>
          </a:p>
        </p:txBody>
      </p:sp>
      <p:sp>
        <p:nvSpPr>
          <p:cNvPr id="4" name="Slide Number Placeholder 3"/>
          <p:cNvSpPr>
            <a:spLocks noGrp="1"/>
          </p:cNvSpPr>
          <p:nvPr>
            <p:ph type="sldNum" sz="quarter" idx="5"/>
          </p:nvPr>
        </p:nvSpPr>
        <p:spPr/>
        <p:txBody>
          <a:bodyPr/>
          <a:lstStyle/>
          <a:p>
            <a:fld id="{2DD8EC6B-DF06-45DB-A092-698F8158B631}" type="slidenum">
              <a:rPr lang="en-US" smtClean="0"/>
              <a:t>38</a:t>
            </a:fld>
            <a:endParaRPr lang="en-US"/>
          </a:p>
        </p:txBody>
      </p:sp>
    </p:spTree>
    <p:extLst>
      <p:ext uri="{BB962C8B-B14F-4D97-AF65-F5344CB8AC3E}">
        <p14:creationId xmlns:p14="http://schemas.microsoft.com/office/powerpoint/2010/main" val="3403242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354387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the colour-coded scorecard data provides a good starting point for finding the problem, it is important to investigate deeper to understand the situation. Key questions to consider may include: </a:t>
            </a:r>
          </a:p>
          <a:p>
            <a:endParaRPr lang="en-US" dirty="0"/>
          </a:p>
          <a:p>
            <a:pPr marL="228600" indent="-228600">
              <a:buAutoNum type="arabicParenR"/>
            </a:pPr>
            <a:r>
              <a:rPr lang="en-US" dirty="0"/>
              <a:t>Does this need a solution? It is important to understand whether the scorecard data truly represents a problem requiring a solution or if it is simply an anomaly or even a data quality issue. Ask yourself, is the performance likely to get worse? If yes, then it is important to take action.</a:t>
            </a:r>
            <a:br>
              <a:rPr lang="en-US" dirty="0"/>
            </a:br>
            <a:endParaRPr lang="en-US" dirty="0"/>
          </a:p>
          <a:p>
            <a:pPr marL="228600" indent="-228600">
              <a:buAutoNum type="arabicParenR"/>
            </a:pPr>
            <a:r>
              <a:rPr lang="en-US" dirty="0"/>
              <a:t>What are the root causes of the problem? Creating an action that will solve the problem requires understanding the root cause of the poor performance. </a:t>
            </a:r>
            <a:r>
              <a:rPr lang="en-US" dirty="0">
                <a:solidFill>
                  <a:prstClr val="black"/>
                </a:solidFill>
                <a:latin typeface="Arial"/>
              </a:rPr>
              <a:t>Are there any factors specific to this geographic location that are contributing to the underperformance? Which root causes can be managed or controlled? And finally….</a:t>
            </a:r>
          </a:p>
          <a:p>
            <a:pPr marL="228600" indent="-228600">
              <a:buAutoNum type="arabicParenR"/>
            </a:pPr>
            <a:endParaRPr lang="en-US" dirty="0"/>
          </a:p>
          <a:p>
            <a:pPr marL="228600" indent="-228600">
              <a:buAutoNum type="arabicParenR"/>
            </a:pPr>
            <a:r>
              <a:rPr lang="en-US" dirty="0"/>
              <a:t>What interventions exist? What interventions are in place and have been tried? Have any been successful? Have any been unsuccessful? Are there lessons learned and success stories from neighbors that can be adopted or scaled up? And can the local community play a role in solving the issue?</a:t>
            </a:r>
          </a:p>
          <a:p>
            <a:pPr marL="228600" indent="-228600">
              <a:buAutoNum type="arabicParenR"/>
            </a:pPr>
            <a:endParaRPr lang="en-US" dirty="0"/>
          </a:p>
          <a:p>
            <a:pPr marL="0" indent="0">
              <a:buNone/>
            </a:pPr>
            <a:r>
              <a:rPr lang="en-US" dirty="0"/>
              <a:t>The answers to these questions can help to guide the actions required to address the issues identified by the scorecard.</a:t>
            </a:r>
          </a:p>
          <a:p>
            <a:endParaRPr lang="en-US" dirty="0"/>
          </a:p>
          <a:p>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44</a:t>
            </a:fld>
            <a:endParaRPr lang="en-US"/>
          </a:p>
        </p:txBody>
      </p:sp>
    </p:spTree>
    <p:extLst>
      <p:ext uri="{BB962C8B-B14F-4D97-AF65-F5344CB8AC3E}">
        <p14:creationId xmlns:p14="http://schemas.microsoft.com/office/powerpoint/2010/main" val="1733055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6E2CA6-C0CB-4C7D-BDDD-C947E1BCC3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575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D6E2CA6-C0CB-4C7D-BDDD-C947E1BCC3DC}"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GB"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17817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6E2CA6-C0CB-4C7D-BDDD-C947E1BCC3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092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6E2CA6-C0CB-4C7D-BDDD-C947E1BCC3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71844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corecard web platform has a management functionality called the Action Tracker, where actions can be assigned and progress of implementation can be tracked. </a:t>
            </a:r>
            <a:r>
              <a:rPr lang="en-GB" sz="1200" i="0" dirty="0">
                <a:solidFill>
                  <a:prstClr val="black"/>
                </a:solidFill>
                <a:latin typeface="Arial"/>
              </a:rPr>
              <a:t>When the scorecard reveals a problem, the action tracker is used by managers to </a:t>
            </a:r>
            <a:r>
              <a:rPr lang="en-GB" sz="1200" dirty="0">
                <a:solidFill>
                  <a:prstClr val="black"/>
                </a:solidFill>
                <a:latin typeface="Arial"/>
              </a:rPr>
              <a:t>assign to a specific person, an action with a deadline. The web platform automatically sends notifications via email and SMS to the person who is assigned the action, giving them useful reminders that they are responsible for coordinating the implementation of an action. The automatic notifications are sent the day the action is created, 7 days before the deadline, 1 day before the deadline, and every 7 days after the deadline has passed if the action is not marked as comple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prstClr val="black"/>
              </a:solidFill>
              <a:latin typeface="Arial"/>
            </a:endParaRPr>
          </a:p>
          <a:p>
            <a:pPr marL="0" marR="0" lvl="0" indent="0" algn="l" defTabSz="913526" rtl="0" eaLnBrk="1" fontAlgn="base" latinLnBrk="0" hangingPunct="1">
              <a:lnSpc>
                <a:spcPct val="100000"/>
              </a:lnSpc>
              <a:spcBef>
                <a:spcPct val="0"/>
              </a:spcBef>
              <a:spcAft>
                <a:spcPct val="0"/>
              </a:spcAft>
              <a:buClrTx/>
              <a:buSzTx/>
              <a:buFontTx/>
              <a:buNone/>
              <a:tabLst/>
              <a:defRPr/>
            </a:pPr>
            <a:r>
              <a:rPr lang="en-GB" sz="1200" dirty="0">
                <a:solidFill>
                  <a:prstClr val="black"/>
                </a:solidFill>
                <a:latin typeface="Arial"/>
              </a:rPr>
              <a:t>This slide shows a screen shot of the action tracker. As you can see, </a:t>
            </a:r>
            <a:r>
              <a:rPr lang="en-US" sz="1200" dirty="0">
                <a:solidFill>
                  <a:prstClr val="black"/>
                </a:solidFill>
                <a:latin typeface="Arial"/>
              </a:rPr>
              <a:t>a</a:t>
            </a:r>
            <a:r>
              <a:rPr lang="en-US" sz="1200" dirty="0">
                <a:latin typeface="Arial"/>
              </a:rPr>
              <a:t>ctions can be assigned at </a:t>
            </a:r>
            <a:r>
              <a:rPr lang="en-US" sz="1200" dirty="0">
                <a:solidFill>
                  <a:prstClr val="black"/>
                </a:solidFill>
                <a:latin typeface="Arial"/>
              </a:rPr>
              <a:t>all levels, including at district and even at facility level. The action tracker displays a l</a:t>
            </a:r>
            <a:r>
              <a:rPr lang="en-US" sz="1200" dirty="0">
                <a:latin typeface="Arial"/>
              </a:rPr>
              <a:t>ist of action items, a field showing color-coded implementation status, the due date, and the owner responsible for coordinating the action. Missed deadlines are highlighted in red, prompting immediate management attention. The color-coded visual indicator status allows manager to quickly identify which action items are at risk. </a:t>
            </a:r>
          </a:p>
          <a:p>
            <a:pPr marL="0" marR="0" lvl="0" indent="0" algn="l" defTabSz="913526" rtl="0" eaLnBrk="1" fontAlgn="base" latinLnBrk="0" hangingPunct="1">
              <a:lnSpc>
                <a:spcPct val="100000"/>
              </a:lnSpc>
              <a:spcBef>
                <a:spcPct val="0"/>
              </a:spcBef>
              <a:spcAft>
                <a:spcPct val="0"/>
              </a:spcAft>
              <a:buClrTx/>
              <a:buSzTx/>
              <a:buFontTx/>
              <a:buNone/>
              <a:tabLst/>
              <a:defRPr/>
            </a:pPr>
            <a:endParaRPr lang="en-US" sz="1200" dirty="0">
              <a:latin typeface="Arial"/>
            </a:endParaRPr>
          </a:p>
          <a:p>
            <a:pPr marL="0" marR="0" lvl="0" indent="0" algn="l" defTabSz="913526" rtl="0" eaLnBrk="1" fontAlgn="base" latinLnBrk="0" hangingPunct="1">
              <a:lnSpc>
                <a:spcPct val="100000"/>
              </a:lnSpc>
              <a:spcBef>
                <a:spcPct val="0"/>
              </a:spcBef>
              <a:spcAft>
                <a:spcPct val="0"/>
              </a:spcAft>
              <a:buClrTx/>
              <a:buSzTx/>
              <a:buFontTx/>
              <a:buNone/>
              <a:tabLst/>
              <a:defRPr/>
            </a:pPr>
            <a:r>
              <a:rPr lang="en-US" sz="1200" dirty="0">
                <a:latin typeface="Arial"/>
              </a:rPr>
              <a:t>The action tracker, like the other features of the scorecard web platform, is also ava</a:t>
            </a:r>
            <a:r>
              <a:rPr lang="en-US" sz="1200" dirty="0">
                <a:solidFill>
                  <a:prstClr val="black"/>
                </a:solidFill>
                <a:latin typeface="Arial"/>
              </a:rPr>
              <a:t>ilable on the mobile app which allows programme managers and staff to easily update and monitor progress on action items.</a:t>
            </a:r>
          </a:p>
          <a:p>
            <a:pPr marL="0" marR="0" lvl="0" indent="0" algn="l" defTabSz="913526" rtl="0" eaLnBrk="1" fontAlgn="base" latinLnBrk="0" hangingPunct="1">
              <a:lnSpc>
                <a:spcPct val="100000"/>
              </a:lnSpc>
              <a:spcBef>
                <a:spcPct val="0"/>
              </a:spcBef>
              <a:spcAft>
                <a:spcPct val="0"/>
              </a:spcAft>
              <a:buClrTx/>
              <a:buSzTx/>
              <a:buFontTx/>
              <a:buNone/>
              <a:tabLst/>
              <a:defRPr/>
            </a:pPr>
            <a:endParaRPr lang="en-US" sz="1200" dirty="0">
              <a:latin typeface="Arial"/>
            </a:endParaRPr>
          </a:p>
          <a:p>
            <a:pPr marL="0" marR="0" lvl="0" indent="0" algn="l" defTabSz="913526" rtl="0" eaLnBrk="1" fontAlgn="base" latinLnBrk="0" hangingPunct="1">
              <a:lnSpc>
                <a:spcPct val="100000"/>
              </a:lnSpc>
              <a:spcBef>
                <a:spcPct val="0"/>
              </a:spcBef>
              <a:spcAft>
                <a:spcPct val="0"/>
              </a:spcAft>
              <a:buClrTx/>
              <a:buSzTx/>
              <a:buFontTx/>
              <a:buNone/>
              <a:tabLst/>
              <a:defRPr/>
            </a:pPr>
            <a:endParaRPr lang="en-US" sz="1200" dirty="0">
              <a:latin typeface="Arial"/>
            </a:endParaRPr>
          </a:p>
          <a:p>
            <a:pPr defTabSz="913526" fontAlgn="base">
              <a:spcBef>
                <a:spcPct val="0"/>
              </a:spcBef>
              <a:spcAft>
                <a:spcPct val="0"/>
              </a:spcAft>
            </a:pPr>
            <a:endParaRPr lang="en-US" sz="1200" dirty="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prstClr val="black"/>
              </a:solidFill>
              <a:latin typeface="Arial"/>
            </a:endParaRPr>
          </a:p>
          <a:p>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49</a:t>
            </a:fld>
            <a:endParaRPr lang="en-US"/>
          </a:p>
        </p:txBody>
      </p:sp>
    </p:spTree>
    <p:extLst>
      <p:ext uri="{BB962C8B-B14F-4D97-AF65-F5344CB8AC3E}">
        <p14:creationId xmlns:p14="http://schemas.microsoft.com/office/powerpoint/2010/main" val="2242296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46446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132923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516720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07266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4092775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56434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t>16</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53189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821749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7</a:t>
            </a:fld>
            <a:endParaRPr lang="en-US" dirty="0"/>
          </a:p>
        </p:txBody>
      </p:sp>
    </p:spTree>
    <p:extLst>
      <p:ext uri="{BB962C8B-B14F-4D97-AF65-F5344CB8AC3E}">
        <p14:creationId xmlns:p14="http://schemas.microsoft.com/office/powerpoint/2010/main" val="26008765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784862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es the Scorecard Process work? </a:t>
            </a:r>
          </a:p>
          <a:p>
            <a:endParaRPr lang="en-US" dirty="0"/>
          </a:p>
          <a:p>
            <a:r>
              <a:rPr lang="en-US" dirty="0"/>
              <a:t>As a management tool, the emphasis of scorecards should be on how the data is used for action. </a:t>
            </a:r>
          </a:p>
          <a:p>
            <a:r>
              <a:rPr lang="en-US" dirty="0"/>
              <a:t>Though the process varies depending on the country, many scorecards use the following process </a:t>
            </a:r>
          </a:p>
          <a:p>
            <a:endParaRPr lang="en-US" dirty="0"/>
          </a:p>
          <a:p>
            <a:pPr marL="228600" indent="-228600">
              <a:buAutoNum type="arabicParenR"/>
            </a:pPr>
            <a:r>
              <a:rPr lang="en-US" dirty="0"/>
              <a:t>Every quarter, scorecard administrators use data from existing sources like DHIS2 to produce the scorecard. </a:t>
            </a:r>
          </a:p>
          <a:p>
            <a:pPr marL="228600" indent="-228600">
              <a:buAutoNum type="arabicParenR"/>
            </a:pPr>
            <a:r>
              <a:rPr lang="en-US" dirty="0"/>
              <a:t>Technical teams at various levels analyze the scorecard, investigate the root causes of the bottlenecks and propose actions</a:t>
            </a:r>
          </a:p>
          <a:p>
            <a:pPr marL="228600" indent="-228600">
              <a:buAutoNum type="arabicParenR"/>
            </a:pPr>
            <a:r>
              <a:rPr lang="en-US" dirty="0"/>
              <a:t>The scorecard analysis and proposed actions are presented and validated during existing management meetings at all levels. These actions can be entered into the web platform’s action tracker.</a:t>
            </a:r>
          </a:p>
          <a:p>
            <a:pPr marL="228600" indent="-228600">
              <a:buAutoNum type="arabicParenR"/>
            </a:pPr>
            <a:r>
              <a:rPr lang="en-US" dirty="0"/>
              <a:t>Programmes and partners implement the action items; and</a:t>
            </a:r>
          </a:p>
          <a:p>
            <a:pPr marL="228600" indent="-228600">
              <a:buAutoNum type="arabicParenR"/>
            </a:pPr>
            <a:r>
              <a:rPr lang="en-US" dirty="0"/>
              <a:t>Management and other existing accountability mechanisms monitor implementation of actions</a:t>
            </a:r>
          </a:p>
          <a:p>
            <a:pPr marL="228600" indent="-228600">
              <a:buAutoNum type="arabicParenR"/>
            </a:pPr>
            <a:endParaRPr lang="en-US" dirty="0"/>
          </a:p>
          <a:p>
            <a:pPr marL="0" indent="0">
              <a:buNone/>
            </a:pPr>
            <a:r>
              <a:rPr lang="en-US" dirty="0"/>
              <a:t>If the actions taken had the intended results of addressing the root cause of the issue identified in the scorecard, the data in subsequent scorecards should begin to show improvements.  </a:t>
            </a:r>
          </a:p>
          <a:p>
            <a:pPr marL="0" indent="0">
              <a:buNone/>
            </a:pPr>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35</a:t>
            </a:fld>
            <a:endParaRPr lang="en-US"/>
          </a:p>
        </p:txBody>
      </p:sp>
    </p:spTree>
    <p:extLst>
      <p:ext uri="{BB962C8B-B14F-4D97-AF65-F5344CB8AC3E}">
        <p14:creationId xmlns:p14="http://schemas.microsoft.com/office/powerpoint/2010/main" val="1630746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0" y="4962911"/>
            <a:ext cx="5974023" cy="6401753"/>
          </a:xfrm>
        </p:spPr>
        <p:txBody>
          <a:bodyPr/>
          <a:lstStyle/>
          <a:p>
            <a:r>
              <a:rPr lang="en-US" dirty="0"/>
              <a:t>Analyzing the scorecard to create actions is a three step process: </a:t>
            </a:r>
            <a:r>
              <a:rPr lang="en-US" dirty="0" err="1"/>
              <a:t>prioritise</a:t>
            </a:r>
            <a:r>
              <a:rPr lang="en-US" dirty="0"/>
              <a:t>, investigate, and create actions. </a:t>
            </a:r>
          </a:p>
          <a:p>
            <a:endParaRPr lang="en-US" dirty="0"/>
          </a:p>
          <a:p>
            <a:r>
              <a:rPr lang="en-US" dirty="0"/>
              <a:t>Prioritizing is an important first step because, in a world of limited time and resources, it is usually not possible to resolve of all the problems revealed by the scorecard in one quarter. For that reason, scorecard users usually identify 3-5 priorities to focus on every quarter.   Prioritization involves identifying the indicators and locations requiring attention, then evaluating whether the performance is improving or getting worse.  A Province or district with poor performance that is getting worse is usually prioritized.</a:t>
            </a:r>
          </a:p>
          <a:p>
            <a:endParaRPr lang="en-US" dirty="0"/>
          </a:p>
          <a:p>
            <a:r>
              <a:rPr lang="en-US" dirty="0"/>
              <a:t>After selecting a few priorities from the scorecard, it is important to investigate by gathering information about the root cause of the problem. It is helpful to determine which factors are contributing the most to the underperformance and whether the performance is likely to persist. Investigating the root cause of the problem often requires communicating with the people on the ground, where the under-</a:t>
            </a:r>
            <a:r>
              <a:rPr lang="en-US" dirty="0" err="1"/>
              <a:t>perfomance</a:t>
            </a:r>
            <a:r>
              <a:rPr lang="en-US" dirty="0"/>
              <a:t> is taking place. </a:t>
            </a:r>
          </a:p>
          <a:p>
            <a:endParaRPr lang="en-US" dirty="0"/>
          </a:p>
          <a:p>
            <a:r>
              <a:rPr lang="en-US" dirty="0"/>
              <a:t>Once the root causes of the problems are known, it is essential to develop actions that address the root causes of the bottleneck identified. Those actions, can then be input into the scorecard web platform which allows managers to monitor the implementation progress of actions.  In the next slides, we will dive deeper into how to prioritize, investigate and act. </a:t>
            </a:r>
          </a:p>
        </p:txBody>
      </p:sp>
      <p:sp>
        <p:nvSpPr>
          <p:cNvPr id="4" name="Slide Number Placeholder 3"/>
          <p:cNvSpPr>
            <a:spLocks noGrp="1"/>
          </p:cNvSpPr>
          <p:nvPr>
            <p:ph type="sldNum" sz="quarter" idx="5"/>
          </p:nvPr>
        </p:nvSpPr>
        <p:spPr/>
        <p:txBody>
          <a:bodyPr/>
          <a:lstStyle/>
          <a:p>
            <a:fld id="{2DD8EC6B-DF06-45DB-A092-698F8158B631}" type="slidenum">
              <a:rPr lang="en-US" smtClean="0"/>
              <a:t>36</a:t>
            </a:fld>
            <a:endParaRPr lang="en-US"/>
          </a:p>
        </p:txBody>
      </p:sp>
    </p:spTree>
    <p:extLst>
      <p:ext uri="{BB962C8B-B14F-4D97-AF65-F5344CB8AC3E}">
        <p14:creationId xmlns:p14="http://schemas.microsoft.com/office/powerpoint/2010/main" val="14209887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oleObject" Target="../embeddings/oleObject7.bin"/><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slideMaster" Target="../slideMasters/slideMaster2.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image" Target="../media/image6.png"/><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image" Target="../media/image4.emf"/><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39.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4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oleObject" Target="../embeddings/oleObject3.bin"/><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slideMaster" Target="../slideMasters/slideMaster1.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image" Target="../media/image6.pn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image" Target="../media/image4.emf"/><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9.emf"/></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oleObject" Target="../embeddings/oleObject12.bin"/><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slideMaster" Target="../slideMasters/slideMaster4.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image" Target="../media/image6.pn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tags" Target="../tags/tag57.xml"/><Relationship Id="rId10" Type="http://schemas.openxmlformats.org/officeDocument/2006/relationships/tags" Target="../tags/tag52.xml"/><Relationship Id="rId19" Type="http://schemas.openxmlformats.org/officeDocument/2006/relationships/image" Target="../media/image4.emf"/><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60.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91143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7/16/20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2357761434"/>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66750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8" imgW="360" imgH="360" progId="">
                  <p:embed/>
                </p:oleObj>
              </mc:Choice>
              <mc:Fallback>
                <p:oleObj name="think-cell Slide" r:id="rId18" imgW="360" imgH="360" progId="">
                  <p:embed/>
                  <p:pic>
                    <p:nvPicPr>
                      <p:cNvPr id="3" name="Object 30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2"/>
            </p:custDataLst>
          </p:nvPr>
        </p:nvGrpSpPr>
        <p:grpSpPr bwMode="auto">
          <a:xfrm flipH="1">
            <a:off x="8089907" y="6300810"/>
            <a:ext cx="869950" cy="420687"/>
            <a:chOff x="0" y="647"/>
            <a:chExt cx="2278" cy="3325"/>
          </a:xfrm>
        </p:grpSpPr>
        <p:sp>
          <p:nvSpPr>
            <p:cNvPr id="5" name="Freeform 28"/>
            <p:cNvSpPr>
              <a:spLocks/>
            </p:cNvSpPr>
            <p:nvPr>
              <p:custDataLst>
                <p:tags r:id="rId15"/>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6"/>
              </p:custDataLst>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7" name="SlideLogoText"/>
          <p:cNvSpPr>
            <a:spLocks noChangeArrowheads="1"/>
          </p:cNvSpPr>
          <p:nvPr>
            <p:custDataLst>
              <p:tags r:id="rId3"/>
            </p:custDataLst>
          </p:nvPr>
        </p:nvSpPr>
        <p:spPr bwMode="auto">
          <a:xfrm>
            <a:off x="7108180" y="6479382"/>
            <a:ext cx="1053173" cy="1508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4"/>
            </p:custDataLst>
          </p:nvPr>
        </p:nvSpPr>
        <p:spPr bwMode="auto">
          <a:xfrm>
            <a:off x="119063" y="26989"/>
            <a:ext cx="838371"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5"/>
            </p:custDataLst>
          </p:nvPr>
        </p:nvSpPr>
        <p:spPr bwMode="auto">
          <a:xfrm>
            <a:off x="119063" y="531813"/>
            <a:ext cx="3656012"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6"/>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7"/>
            </p:custDataLst>
          </p:nvPr>
        </p:nvSpPr>
        <p:spPr bwMode="auto">
          <a:xfrm rot="5400000">
            <a:off x="7964276" y="1934377"/>
            <a:ext cx="1854675"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8"/>
            </p:custDataLst>
          </p:nvPr>
        </p:nvSpPr>
        <p:spPr bwMode="auto">
          <a:xfrm rot="5400000">
            <a:off x="8049211" y="3852871"/>
            <a:ext cx="1684757"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9"/>
            </p:custDataLst>
          </p:nvPr>
        </p:nvSpPr>
        <p:spPr bwMode="auto">
          <a:xfrm>
            <a:off x="8248277" y="6447647"/>
            <a:ext cx="38473" cy="1809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0"/>
            </p:custDataLst>
          </p:nvPr>
        </p:nvSpPr>
        <p:spPr bwMode="auto">
          <a:xfrm>
            <a:off x="8081970" y="36513"/>
            <a:ext cx="657225"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1"/>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2"/>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3"/>
            </p:custDataLst>
          </p:nvPr>
        </p:nvSpPr>
        <p:spPr bwMode="auto">
          <a:xfrm>
            <a:off x="8502884" y="0"/>
            <a:ext cx="385693" cy="862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4"/>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1078004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02017253"/>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91171653"/>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6421787"/>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9391170"/>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45925122"/>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82078903"/>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41771360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47764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2775411702"/>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4014567315"/>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749148792"/>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37065005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361959"/>
          </a:xfrm>
        </p:spPr>
        <p:txBody>
          <a:bodyPr wrap="square" lIns="0" tIns="0" rIns="0" bIns="0" anchor="t">
            <a:spAutoFit/>
          </a:bodyPr>
          <a:lstStyle>
            <a:lvl1pPr>
              <a:defRPr sz="2352"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7"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6" name="Text Placeholder 6"/>
          <p:cNvSpPr>
            <a:spLocks noGrp="1"/>
          </p:cNvSpPr>
          <p:nvPr userDrawn="1">
            <p:ph type="body" sz="quarter" idx="17" hasCustomPrompt="1"/>
          </p:nvPr>
        </p:nvSpPr>
        <p:spPr>
          <a:xfrm>
            <a:off x="154262" y="6449574"/>
            <a:ext cx="6911276" cy="86049"/>
          </a:xfrm>
        </p:spPr>
        <p:txBody>
          <a:bodyPr vert="horz" wrap="square" lIns="0" tIns="0" rIns="0" bIns="0" rtlCol="0" anchor="b">
            <a:spAutoFit/>
          </a:bodyPr>
          <a:lstStyle>
            <a:lvl1pPr marL="0" indent="0">
              <a:buNone/>
              <a:defRPr lang="en-US" sz="551" dirty="0" smtClean="0">
                <a:latin typeface="Arial" panose="020B0604020202020204" pitchFamily="34" charset="0"/>
                <a:cs typeface="Arial" panose="020B0604020202020204" pitchFamily="34" charset="0"/>
              </a:defRPr>
            </a:lvl1pPr>
            <a:lvl2pPr>
              <a:defRPr lang="en-US" sz="772" dirty="0" smtClean="0">
                <a:latin typeface="+mj-lt"/>
              </a:defRPr>
            </a:lvl2pPr>
            <a:lvl3pPr>
              <a:defRPr lang="en-US" sz="772" dirty="0" smtClean="0">
                <a:latin typeface="+mj-lt"/>
              </a:defRPr>
            </a:lvl3pPr>
            <a:lvl4pPr>
              <a:defRPr lang="en-US" sz="772" dirty="0" smtClean="0">
                <a:latin typeface="+mj-lt"/>
              </a:defRPr>
            </a:lvl4pPr>
            <a:lvl5pPr>
              <a:defRPr lang="en-GB" sz="772" dirty="0">
                <a:latin typeface="+mj-lt"/>
              </a:defRPr>
            </a:lvl5pPr>
          </a:lstStyle>
          <a:p>
            <a:pPr marL="126013" lvl="0" indent="-126013">
              <a:lnSpc>
                <a:spcPct val="110000"/>
              </a:lnSpc>
              <a:spcBef>
                <a:spcPts val="0"/>
              </a:spcBef>
              <a:spcAft>
                <a:spcPts val="165"/>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5" y="6241772"/>
            <a:ext cx="529006"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053045"/>
          </a:xfrm>
        </p:spPr>
        <p:txBody>
          <a:bodyPr wrap="square" lIns="0" tIns="0" rIns="0" bIns="0">
            <a:spAutoFit/>
          </a:bodyPr>
          <a:lstStyle>
            <a:lvl1pPr marL="0" indent="0">
              <a:lnSpc>
                <a:spcPct val="110000"/>
              </a:lnSpc>
              <a:spcBef>
                <a:spcPts val="0"/>
              </a:spcBef>
              <a:spcAft>
                <a:spcPts val="165"/>
              </a:spcAft>
              <a:buNone/>
              <a:defRPr sz="1470">
                <a:latin typeface="Arial" panose="020B0604020202020204" pitchFamily="34" charset="0"/>
                <a:cs typeface="Arial" panose="020B0604020202020204" pitchFamily="34" charset="0"/>
              </a:defRPr>
            </a:lvl1pPr>
            <a:lvl2pPr marL="126013" indent="-126013">
              <a:lnSpc>
                <a:spcPct val="110000"/>
              </a:lnSpc>
              <a:spcBef>
                <a:spcPts val="0"/>
              </a:spcBef>
              <a:spcAft>
                <a:spcPts val="165"/>
              </a:spcAft>
              <a:defRPr sz="1470">
                <a:latin typeface="Arial" panose="020B0604020202020204" pitchFamily="34" charset="0"/>
                <a:cs typeface="Arial" panose="020B0604020202020204" pitchFamily="34" charset="0"/>
              </a:defRPr>
            </a:lvl2pPr>
            <a:lvl3pPr marL="252026" indent="-126013">
              <a:lnSpc>
                <a:spcPct val="110000"/>
              </a:lnSpc>
              <a:spcBef>
                <a:spcPts val="0"/>
              </a:spcBef>
              <a:spcAft>
                <a:spcPts val="165"/>
              </a:spcAft>
              <a:defRPr sz="1470">
                <a:latin typeface="Arial" panose="020B0604020202020204" pitchFamily="34" charset="0"/>
                <a:cs typeface="Arial" panose="020B0604020202020204" pitchFamily="34" charset="0"/>
              </a:defRPr>
            </a:lvl3pPr>
            <a:lvl4pPr marL="378038" indent="-126013">
              <a:lnSpc>
                <a:spcPct val="110000"/>
              </a:lnSpc>
              <a:spcBef>
                <a:spcPts val="0"/>
              </a:spcBef>
              <a:spcAft>
                <a:spcPts val="165"/>
              </a:spcAft>
              <a:defRPr sz="1470">
                <a:latin typeface="Arial" panose="020B0604020202020204" pitchFamily="34" charset="0"/>
                <a:cs typeface="Arial" panose="020B0604020202020204" pitchFamily="34" charset="0"/>
              </a:defRPr>
            </a:lvl4pPr>
            <a:lvl5pPr>
              <a:defRPr sz="7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990644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89"/>
            <a:ext cx="5003123" cy="1466017"/>
          </a:xfrm>
        </p:spPr>
        <p:txBody>
          <a:bodyPr vert="horz" wrap="square" lIns="0" tIns="0" rIns="0" bIns="0" rtlCol="0" anchor="b">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Presentation title</a:t>
            </a:r>
          </a:p>
        </p:txBody>
      </p:sp>
      <p:sp>
        <p:nvSpPr>
          <p:cNvPr id="17" name="Text Placeholder 16"/>
          <p:cNvSpPr>
            <a:spLocks noGrp="1"/>
          </p:cNvSpPr>
          <p:nvPr>
            <p:ph type="body" sz="quarter" idx="12" hasCustomPrompt="1"/>
          </p:nvPr>
        </p:nvSpPr>
        <p:spPr>
          <a:xfrm>
            <a:off x="457753" y="5848392"/>
            <a:ext cx="3311532" cy="252506"/>
          </a:xfrm>
        </p:spPr>
        <p:txBody>
          <a:bodyPr vert="horz" wrap="square" lIns="0" tIns="0" rIns="0" bIns="0" rtlCol="0">
            <a:spAutoFit/>
          </a:bodyPr>
          <a:lstStyle>
            <a:lvl1pPr marL="0" indent="0">
              <a:lnSpc>
                <a:spcPct val="150000"/>
              </a:lnSpc>
              <a:buNone/>
              <a:defRPr lang="en-US" sz="1617" b="1"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Month Year</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278296121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90"/>
            <a:ext cx="5003123" cy="733008"/>
          </a:xfrm>
        </p:spPr>
        <p:txBody>
          <a:bodyPr vert="horz" wrap="square" lIns="0" tIns="0" rIns="0" bIns="0" rtlCol="0" anchor="t">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Section title</a:t>
            </a:r>
          </a:p>
        </p:txBody>
      </p:sp>
      <p:sp>
        <p:nvSpPr>
          <p:cNvPr id="17" name="Text Placeholder 16"/>
          <p:cNvSpPr>
            <a:spLocks noGrp="1"/>
          </p:cNvSpPr>
          <p:nvPr>
            <p:ph type="body" sz="quarter" idx="12" hasCustomPrompt="1"/>
          </p:nvPr>
        </p:nvSpPr>
        <p:spPr>
          <a:xfrm>
            <a:off x="457753" y="2313759"/>
            <a:ext cx="3311532" cy="275507"/>
          </a:xfrm>
        </p:spPr>
        <p:txBody>
          <a:bodyPr vert="horz" wrap="square" lIns="0" tIns="0" rIns="0" bIns="0" rtlCol="0">
            <a:spAutoFit/>
          </a:bodyPr>
          <a:lstStyle>
            <a:lvl1pPr marL="0" indent="0">
              <a:lnSpc>
                <a:spcPct val="150000"/>
              </a:lnSpc>
              <a:buNone/>
              <a:defRPr lang="en-US" sz="1764" b="0"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Presentation title</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1035454035"/>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4895400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47818220"/>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Only">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118065546"/>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a:xfrm>
            <a:off x="120508" y="230188"/>
            <a:ext cx="6654067" cy="292388"/>
          </a:xfrm>
        </p:spPr>
        <p:txBody>
          <a:bodyPr/>
          <a:lstStyle/>
          <a:p>
            <a:r>
              <a:rPr lang="en-US" dirty="0"/>
              <a:t>Click to edit Master title style</a:t>
            </a:r>
          </a:p>
        </p:txBody>
      </p:sp>
    </p:spTree>
    <p:extLst>
      <p:ext uri="{BB962C8B-B14F-4D97-AF65-F5344CB8AC3E}">
        <p14:creationId xmlns:p14="http://schemas.microsoft.com/office/powerpoint/2010/main" val="9791682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7" y="436161"/>
            <a:ext cx="7402518" cy="285059"/>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5"/>
          <p:cNvSpPr>
            <a:spLocks noGrp="1"/>
          </p:cNvSpPr>
          <p:nvPr>
            <p:ph type="body" sz="quarter" idx="10"/>
          </p:nvPr>
        </p:nvSpPr>
        <p:spPr>
          <a:xfrm>
            <a:off x="532086" y="2743406"/>
            <a:ext cx="786540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grpSp>
        <p:nvGrpSpPr>
          <p:cNvPr id="18" name="Group 17">
            <a:extLst>
              <a:ext uri="{FF2B5EF4-FFF2-40B4-BE49-F238E27FC236}">
                <a16:creationId xmlns:a16="http://schemas.microsoft.com/office/drawing/2014/main" id="{97B5FD98-102D-4E86-A976-F9B4F3194778}"/>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9DB15FD6-6423-44C1-97A2-8D3D6A0E0CD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BF939E7E-FB4C-468C-A0E7-674C1DA47D6E}"/>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F0F3DBF1-D5DE-4B40-BA7D-8C07EE5F807F}"/>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2D3D883B-B417-41AD-9C65-BE886D37B593}"/>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4B1639C2-47C3-4FF7-962D-4A9EEE449218}"/>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3784F214-DA51-47C0-AD99-B71E7BDC974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834876921"/>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5"/>
          <p:cNvSpPr>
            <a:spLocks noGrp="1"/>
          </p:cNvSpPr>
          <p:nvPr>
            <p:ph type="body" sz="quarter" idx="10"/>
          </p:nvPr>
        </p:nvSpPr>
        <p:spPr>
          <a:xfrm>
            <a:off x="532087" y="2743406"/>
            <a:ext cx="3732323"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5"/>
          <p:cNvSpPr>
            <a:spLocks noGrp="1"/>
          </p:cNvSpPr>
          <p:nvPr>
            <p:ph type="body" sz="quarter" idx="11"/>
          </p:nvPr>
        </p:nvSpPr>
        <p:spPr>
          <a:xfrm>
            <a:off x="4674525" y="2743406"/>
            <a:ext cx="3732323"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Font typeface="Arial" panose="020B0604020202020204" pitchFamily="34" charse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dirty="0"/>
              <a:t>Edit Master text styles</a:t>
            </a:r>
          </a:p>
        </p:txBody>
      </p:sp>
      <p:grpSp>
        <p:nvGrpSpPr>
          <p:cNvPr id="18" name="Group 17">
            <a:extLst>
              <a:ext uri="{FF2B5EF4-FFF2-40B4-BE49-F238E27FC236}">
                <a16:creationId xmlns:a16="http://schemas.microsoft.com/office/drawing/2014/main" id="{CE33AE2B-758D-428A-A029-1BCB73E99F7C}"/>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58CEB6F1-1DA0-41C4-8020-449F448D336C}"/>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2F0567F8-0A5D-42D8-B421-8DDBBFF16428}"/>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8F1FE5C0-D7BD-44F1-9752-605581E75523}"/>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D5079C2-F9E7-4568-8D03-8C09F2255E96}"/>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E118B0D1-43EE-424A-98AF-5E88036A721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6295C66D-DA12-408E-B60B-5A2FA43D569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440272405"/>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532090" y="2743406"/>
            <a:ext cx="252703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5"/>
          <p:cNvSpPr>
            <a:spLocks noGrp="1"/>
          </p:cNvSpPr>
          <p:nvPr>
            <p:ph type="body" sz="quarter" idx="11"/>
          </p:nvPr>
        </p:nvSpPr>
        <p:spPr>
          <a:xfrm>
            <a:off x="3189388" y="2743406"/>
            <a:ext cx="252703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5"/>
          <p:cNvSpPr>
            <a:spLocks noGrp="1"/>
          </p:cNvSpPr>
          <p:nvPr>
            <p:ph type="body" sz="quarter" idx="12"/>
          </p:nvPr>
        </p:nvSpPr>
        <p:spPr>
          <a:xfrm>
            <a:off x="5846683" y="2743406"/>
            <a:ext cx="257611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19" name="Group 18">
            <a:extLst>
              <a:ext uri="{FF2B5EF4-FFF2-40B4-BE49-F238E27FC236}">
                <a16:creationId xmlns:a16="http://schemas.microsoft.com/office/drawing/2014/main" id="{732E92C2-14B8-4361-B700-B1A259D5184A}"/>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1416DCFC-5D51-4D58-8C7E-2E92A346BB1D}"/>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2CBBCE12-58B2-4CE5-8CF2-ADFA2B7F6C45}"/>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BD43597E-3375-4562-9103-414EE87AFAC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4" name="Rectangle 23">
              <a:extLst>
                <a:ext uri="{FF2B5EF4-FFF2-40B4-BE49-F238E27FC236}">
                  <a16:creationId xmlns:a16="http://schemas.microsoft.com/office/drawing/2014/main" id="{1CA23AB8-0798-4776-A398-C2FDD716DEEF}"/>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5" name="Text Placeholder 6">
            <a:extLst>
              <a:ext uri="{FF2B5EF4-FFF2-40B4-BE49-F238E27FC236}">
                <a16:creationId xmlns:a16="http://schemas.microsoft.com/office/drawing/2014/main" id="{97DAAF0C-93A3-48BC-A621-F6D9E7E8E9AC}"/>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6" name="Picture 25" descr="ALMA">
            <a:extLst>
              <a:ext uri="{FF2B5EF4-FFF2-40B4-BE49-F238E27FC236}">
                <a16:creationId xmlns:a16="http://schemas.microsoft.com/office/drawing/2014/main" id="{4AE31DC4-03E8-4C5C-94D5-1D7A2C0FA32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1779540718"/>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532090"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5"/>
          <p:cNvSpPr>
            <a:spLocks noGrp="1"/>
          </p:cNvSpPr>
          <p:nvPr>
            <p:ph type="body" sz="quarter" idx="11"/>
          </p:nvPr>
        </p:nvSpPr>
        <p:spPr>
          <a:xfrm>
            <a:off x="3319655"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5"/>
          <p:cNvSpPr>
            <a:spLocks noGrp="1"/>
          </p:cNvSpPr>
          <p:nvPr>
            <p:ph type="body" sz="quarter" idx="12"/>
          </p:nvPr>
        </p:nvSpPr>
        <p:spPr>
          <a:xfrm>
            <a:off x="6107218"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17"/>
          <p:cNvSpPr>
            <a:spLocks noGrp="1"/>
          </p:cNvSpPr>
          <p:nvPr>
            <p:ph type="body" sz="quarter" idx="13" hasCustomPrompt="1"/>
          </p:nvPr>
        </p:nvSpPr>
        <p:spPr>
          <a:xfrm>
            <a:off x="532086"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3319652"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6107215"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532090"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3319655"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6106936"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26" name="Group 25">
            <a:extLst>
              <a:ext uri="{FF2B5EF4-FFF2-40B4-BE49-F238E27FC236}">
                <a16:creationId xmlns:a16="http://schemas.microsoft.com/office/drawing/2014/main" id="{0DF37B18-1129-4E15-A84D-338D2A0C231C}"/>
              </a:ext>
            </a:extLst>
          </p:cNvPr>
          <p:cNvGrpSpPr/>
          <p:nvPr userDrawn="1"/>
        </p:nvGrpSpPr>
        <p:grpSpPr>
          <a:xfrm>
            <a:off x="1098" y="6646792"/>
            <a:ext cx="8960340" cy="74683"/>
            <a:chOff x="0" y="0"/>
            <a:chExt cx="12190506" cy="295275"/>
          </a:xfrm>
        </p:grpSpPr>
        <p:sp>
          <p:nvSpPr>
            <p:cNvPr id="27" name="Rectangle 26">
              <a:extLst>
                <a:ext uri="{FF2B5EF4-FFF2-40B4-BE49-F238E27FC236}">
                  <a16:creationId xmlns:a16="http://schemas.microsoft.com/office/drawing/2014/main" id="{AFB37D1E-D07A-4DC8-A489-51AFC9514FD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Rectangle 27">
              <a:extLst>
                <a:ext uri="{FF2B5EF4-FFF2-40B4-BE49-F238E27FC236}">
                  <a16:creationId xmlns:a16="http://schemas.microsoft.com/office/drawing/2014/main" id="{41A78ED0-D09F-4B8D-826D-9664B4835F3A}"/>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9" name="Rectangle 28">
              <a:extLst>
                <a:ext uri="{FF2B5EF4-FFF2-40B4-BE49-F238E27FC236}">
                  <a16:creationId xmlns:a16="http://schemas.microsoft.com/office/drawing/2014/main" id="{2F19D070-72B0-409D-8A49-BF030A8BC0BB}"/>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0" name="Rectangle 29">
              <a:extLst>
                <a:ext uri="{FF2B5EF4-FFF2-40B4-BE49-F238E27FC236}">
                  <a16:creationId xmlns:a16="http://schemas.microsoft.com/office/drawing/2014/main" id="{DAF89657-4C1D-4FF7-8569-020C662EFE0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1" name="Text Placeholder 6">
            <a:extLst>
              <a:ext uri="{FF2B5EF4-FFF2-40B4-BE49-F238E27FC236}">
                <a16:creationId xmlns:a16="http://schemas.microsoft.com/office/drawing/2014/main" id="{62E2135C-68A4-4094-87BD-7E0E7C686E8A}"/>
              </a:ext>
            </a:extLst>
          </p:cNvPr>
          <p:cNvSpPr>
            <a:spLocks noGrp="1"/>
          </p:cNvSpPr>
          <p:nvPr>
            <p:ph type="body" sz="quarter" idx="19"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2" name="Picture 31" descr="ALMA">
            <a:extLst>
              <a:ext uri="{FF2B5EF4-FFF2-40B4-BE49-F238E27FC236}">
                <a16:creationId xmlns:a16="http://schemas.microsoft.com/office/drawing/2014/main" id="{4897EC9E-D9D4-4D19-9B8F-2BAEA4D241E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515815238"/>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gt; 4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1381881" y="253774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6" name="Text Placeholder 5"/>
          <p:cNvSpPr>
            <a:spLocks noGrp="1"/>
          </p:cNvSpPr>
          <p:nvPr>
            <p:ph type="body" sz="quarter" idx="11"/>
          </p:nvPr>
        </p:nvSpPr>
        <p:spPr>
          <a:xfrm>
            <a:off x="5638235" y="253774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7" name="Text Placeholder 5"/>
          <p:cNvSpPr>
            <a:spLocks noGrp="1"/>
          </p:cNvSpPr>
          <p:nvPr>
            <p:ph type="body" sz="quarter" idx="12"/>
          </p:nvPr>
        </p:nvSpPr>
        <p:spPr>
          <a:xfrm>
            <a:off x="1381881" y="437259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32086"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4801791"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532086" y="3947938"/>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1381881" y="2145239"/>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5638235" y="2145239"/>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1381881" y="3945281"/>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1" name="Text Placeholder 5"/>
          <p:cNvSpPr>
            <a:spLocks noGrp="1"/>
          </p:cNvSpPr>
          <p:nvPr>
            <p:ph type="body" sz="quarter" idx="19"/>
          </p:nvPr>
        </p:nvSpPr>
        <p:spPr>
          <a:xfrm>
            <a:off x="5651587" y="437259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5" name="Text Placeholder 17"/>
          <p:cNvSpPr>
            <a:spLocks noGrp="1"/>
          </p:cNvSpPr>
          <p:nvPr>
            <p:ph type="body" sz="quarter" idx="20" hasCustomPrompt="1"/>
          </p:nvPr>
        </p:nvSpPr>
        <p:spPr>
          <a:xfrm>
            <a:off x="4801791" y="3947938"/>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4</a:t>
            </a:r>
            <a:endParaRPr lang="en-GB" dirty="0"/>
          </a:p>
        </p:txBody>
      </p:sp>
      <p:sp>
        <p:nvSpPr>
          <p:cNvPr id="26" name="Text Placeholder 21"/>
          <p:cNvSpPr>
            <a:spLocks noGrp="1"/>
          </p:cNvSpPr>
          <p:nvPr>
            <p:ph type="body" sz="quarter" idx="21"/>
          </p:nvPr>
        </p:nvSpPr>
        <p:spPr>
          <a:xfrm>
            <a:off x="5651587" y="3945281"/>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29" name="Group 28">
            <a:extLst>
              <a:ext uri="{FF2B5EF4-FFF2-40B4-BE49-F238E27FC236}">
                <a16:creationId xmlns:a16="http://schemas.microsoft.com/office/drawing/2014/main" id="{D3B0CB92-BF5F-407A-BFA5-06B671DEE466}"/>
              </a:ext>
            </a:extLst>
          </p:cNvPr>
          <p:cNvGrpSpPr/>
          <p:nvPr userDrawn="1"/>
        </p:nvGrpSpPr>
        <p:grpSpPr>
          <a:xfrm>
            <a:off x="1098" y="6646792"/>
            <a:ext cx="8960340" cy="74683"/>
            <a:chOff x="0" y="0"/>
            <a:chExt cx="12190506" cy="295275"/>
          </a:xfrm>
        </p:grpSpPr>
        <p:sp>
          <p:nvSpPr>
            <p:cNvPr id="30" name="Rectangle 29">
              <a:extLst>
                <a:ext uri="{FF2B5EF4-FFF2-40B4-BE49-F238E27FC236}">
                  <a16:creationId xmlns:a16="http://schemas.microsoft.com/office/drawing/2014/main" id="{CFA80A86-5D9F-4DFC-9D1E-D45912DE54C5}"/>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1" name="Rectangle 30">
              <a:extLst>
                <a:ext uri="{FF2B5EF4-FFF2-40B4-BE49-F238E27FC236}">
                  <a16:creationId xmlns:a16="http://schemas.microsoft.com/office/drawing/2014/main" id="{52A7E6BB-2D87-4594-AD19-04F59547091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2" name="Rectangle 31">
              <a:extLst>
                <a:ext uri="{FF2B5EF4-FFF2-40B4-BE49-F238E27FC236}">
                  <a16:creationId xmlns:a16="http://schemas.microsoft.com/office/drawing/2014/main" id="{965266C1-919B-446B-A0A0-A6E84B2892A7}"/>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3" name="Rectangle 32">
              <a:extLst>
                <a:ext uri="{FF2B5EF4-FFF2-40B4-BE49-F238E27FC236}">
                  <a16:creationId xmlns:a16="http://schemas.microsoft.com/office/drawing/2014/main" id="{71D9F41E-48BE-4B43-B231-64352E3E1B85}"/>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4" name="Text Placeholder 6">
            <a:extLst>
              <a:ext uri="{FF2B5EF4-FFF2-40B4-BE49-F238E27FC236}">
                <a16:creationId xmlns:a16="http://schemas.microsoft.com/office/drawing/2014/main" id="{CE6C81B1-639F-41D2-A294-81E9B2F6D7AC}"/>
              </a:ext>
            </a:extLst>
          </p:cNvPr>
          <p:cNvSpPr>
            <a:spLocks noGrp="1"/>
          </p:cNvSpPr>
          <p:nvPr>
            <p:ph type="body" sz="quarter" idx="22"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5" name="Picture 34" descr="ALMA">
            <a:extLst>
              <a:ext uri="{FF2B5EF4-FFF2-40B4-BE49-F238E27FC236}">
                <a16:creationId xmlns:a16="http://schemas.microsoft.com/office/drawing/2014/main" id="{A40E405A-1CA2-478D-8FA7-7BA8CFD1C97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008479719"/>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gt; 6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1381881" y="2300823"/>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6" name="Text Placeholder 5"/>
          <p:cNvSpPr>
            <a:spLocks noGrp="1"/>
          </p:cNvSpPr>
          <p:nvPr>
            <p:ph type="body" sz="quarter" idx="11"/>
          </p:nvPr>
        </p:nvSpPr>
        <p:spPr>
          <a:xfrm>
            <a:off x="5638235" y="2300823"/>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7" name="Text Placeholder 5"/>
          <p:cNvSpPr>
            <a:spLocks noGrp="1"/>
          </p:cNvSpPr>
          <p:nvPr>
            <p:ph type="body" sz="quarter" idx="12"/>
          </p:nvPr>
        </p:nvSpPr>
        <p:spPr>
          <a:xfrm>
            <a:off x="1381881" y="3748255"/>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32086" y="1908319"/>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4801791" y="1908319"/>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532086" y="332359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1381881" y="190831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5638235" y="190831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1381881" y="33209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1" name="Text Placeholder 5"/>
          <p:cNvSpPr>
            <a:spLocks noGrp="1"/>
          </p:cNvSpPr>
          <p:nvPr>
            <p:ph type="body" sz="quarter" idx="19"/>
          </p:nvPr>
        </p:nvSpPr>
        <p:spPr>
          <a:xfrm>
            <a:off x="5651587" y="3748255"/>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5" name="Text Placeholder 17"/>
          <p:cNvSpPr>
            <a:spLocks noGrp="1"/>
          </p:cNvSpPr>
          <p:nvPr>
            <p:ph type="body" sz="quarter" idx="20" hasCustomPrompt="1"/>
          </p:nvPr>
        </p:nvSpPr>
        <p:spPr>
          <a:xfrm>
            <a:off x="4801791" y="332359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4</a:t>
            </a:r>
            <a:endParaRPr lang="en-GB" dirty="0"/>
          </a:p>
        </p:txBody>
      </p:sp>
      <p:sp>
        <p:nvSpPr>
          <p:cNvPr id="26" name="Text Placeholder 21"/>
          <p:cNvSpPr>
            <a:spLocks noGrp="1"/>
          </p:cNvSpPr>
          <p:nvPr>
            <p:ph type="body" sz="quarter" idx="21"/>
          </p:nvPr>
        </p:nvSpPr>
        <p:spPr>
          <a:xfrm>
            <a:off x="5651587" y="33209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7" name="Text Placeholder 5"/>
          <p:cNvSpPr>
            <a:spLocks noGrp="1"/>
          </p:cNvSpPr>
          <p:nvPr>
            <p:ph type="body" sz="quarter" idx="22"/>
          </p:nvPr>
        </p:nvSpPr>
        <p:spPr>
          <a:xfrm>
            <a:off x="1381881" y="5114692"/>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8" name="Text Placeholder 17"/>
          <p:cNvSpPr>
            <a:spLocks noGrp="1"/>
          </p:cNvSpPr>
          <p:nvPr>
            <p:ph type="body" sz="quarter" idx="23" hasCustomPrompt="1"/>
          </p:nvPr>
        </p:nvSpPr>
        <p:spPr>
          <a:xfrm>
            <a:off x="532086" y="469003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5</a:t>
            </a:r>
            <a:endParaRPr lang="en-GB" dirty="0"/>
          </a:p>
        </p:txBody>
      </p:sp>
      <p:sp>
        <p:nvSpPr>
          <p:cNvPr id="29" name="Text Placeholder 21"/>
          <p:cNvSpPr>
            <a:spLocks noGrp="1"/>
          </p:cNvSpPr>
          <p:nvPr>
            <p:ph type="body" sz="quarter" idx="24"/>
          </p:nvPr>
        </p:nvSpPr>
        <p:spPr>
          <a:xfrm>
            <a:off x="1381881" y="468737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30" name="Text Placeholder 5"/>
          <p:cNvSpPr>
            <a:spLocks noGrp="1"/>
          </p:cNvSpPr>
          <p:nvPr>
            <p:ph type="body" sz="quarter" idx="25"/>
          </p:nvPr>
        </p:nvSpPr>
        <p:spPr>
          <a:xfrm>
            <a:off x="5651587" y="5114692"/>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31" name="Text Placeholder 17"/>
          <p:cNvSpPr>
            <a:spLocks noGrp="1"/>
          </p:cNvSpPr>
          <p:nvPr>
            <p:ph type="body" sz="quarter" idx="26" hasCustomPrompt="1"/>
          </p:nvPr>
        </p:nvSpPr>
        <p:spPr>
          <a:xfrm>
            <a:off x="4801791" y="469003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6</a:t>
            </a:r>
            <a:endParaRPr lang="en-GB" dirty="0"/>
          </a:p>
        </p:txBody>
      </p:sp>
      <p:sp>
        <p:nvSpPr>
          <p:cNvPr id="32" name="Text Placeholder 21"/>
          <p:cNvSpPr>
            <a:spLocks noGrp="1"/>
          </p:cNvSpPr>
          <p:nvPr>
            <p:ph type="body" sz="quarter" idx="27"/>
          </p:nvPr>
        </p:nvSpPr>
        <p:spPr>
          <a:xfrm>
            <a:off x="5651587" y="468737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34" name="Group 33">
            <a:extLst>
              <a:ext uri="{FF2B5EF4-FFF2-40B4-BE49-F238E27FC236}">
                <a16:creationId xmlns:a16="http://schemas.microsoft.com/office/drawing/2014/main" id="{D3DC73A3-EF83-4B9C-A7D4-457CA610C346}"/>
              </a:ext>
            </a:extLst>
          </p:cNvPr>
          <p:cNvGrpSpPr/>
          <p:nvPr userDrawn="1"/>
        </p:nvGrpSpPr>
        <p:grpSpPr>
          <a:xfrm>
            <a:off x="1098" y="6646792"/>
            <a:ext cx="8960340" cy="74683"/>
            <a:chOff x="0" y="0"/>
            <a:chExt cx="12190506" cy="295275"/>
          </a:xfrm>
        </p:grpSpPr>
        <p:sp>
          <p:nvSpPr>
            <p:cNvPr id="35" name="Rectangle 34">
              <a:extLst>
                <a:ext uri="{FF2B5EF4-FFF2-40B4-BE49-F238E27FC236}">
                  <a16:creationId xmlns:a16="http://schemas.microsoft.com/office/drawing/2014/main" id="{54EC8B4B-9D2D-43F3-ADAC-BCCFE5089EE1}"/>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6" name="Rectangle 35">
              <a:extLst>
                <a:ext uri="{FF2B5EF4-FFF2-40B4-BE49-F238E27FC236}">
                  <a16:creationId xmlns:a16="http://schemas.microsoft.com/office/drawing/2014/main" id="{4BDE0A46-745D-48B7-B696-C41CC4487FA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7" name="Rectangle 36">
              <a:extLst>
                <a:ext uri="{FF2B5EF4-FFF2-40B4-BE49-F238E27FC236}">
                  <a16:creationId xmlns:a16="http://schemas.microsoft.com/office/drawing/2014/main" id="{F8260FBB-906D-48CE-A2B3-D96181EFF5F7}"/>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8" name="Rectangle 37">
              <a:extLst>
                <a:ext uri="{FF2B5EF4-FFF2-40B4-BE49-F238E27FC236}">
                  <a16:creationId xmlns:a16="http://schemas.microsoft.com/office/drawing/2014/main" id="{D39BADDF-831B-4464-A5E7-593586AFA335}"/>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40" name="Text Placeholder 6">
            <a:extLst>
              <a:ext uri="{FF2B5EF4-FFF2-40B4-BE49-F238E27FC236}">
                <a16:creationId xmlns:a16="http://schemas.microsoft.com/office/drawing/2014/main" id="{D385B1B2-DDAA-4181-8717-3B9E3A143AB0}"/>
              </a:ext>
            </a:extLst>
          </p:cNvPr>
          <p:cNvSpPr>
            <a:spLocks noGrp="1"/>
          </p:cNvSpPr>
          <p:nvPr>
            <p:ph type="body" sz="quarter" idx="28"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41" name="Picture 40" descr="ALMA">
            <a:extLst>
              <a:ext uri="{FF2B5EF4-FFF2-40B4-BE49-F238E27FC236}">
                <a16:creationId xmlns:a16="http://schemas.microsoft.com/office/drawing/2014/main" id="{95AA00FB-DDE4-47FC-B326-577DD5015EC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899007179"/>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6" name="Picture Placeholder 5"/>
          <p:cNvSpPr>
            <a:spLocks noGrp="1"/>
          </p:cNvSpPr>
          <p:nvPr>
            <p:ph type="pic" sz="quarter" idx="18"/>
          </p:nvPr>
        </p:nvSpPr>
        <p:spPr>
          <a:xfrm>
            <a:off x="1" y="74683"/>
            <a:ext cx="2982479" cy="6646792"/>
          </a:xfrm>
        </p:spPr>
        <p:txBody>
          <a:bodyPr/>
          <a:lstStyle/>
          <a:p>
            <a:r>
              <a:rPr lang="en-US"/>
              <a:t>Click icon to add picture</a:t>
            </a:r>
            <a:endParaRPr lang="en-GB"/>
          </a:p>
        </p:txBody>
      </p:sp>
      <p:sp>
        <p:nvSpPr>
          <p:cNvPr id="17" name="Picture Placeholder 5"/>
          <p:cNvSpPr>
            <a:spLocks noGrp="1"/>
          </p:cNvSpPr>
          <p:nvPr>
            <p:ph type="pic" sz="quarter" idx="19"/>
          </p:nvPr>
        </p:nvSpPr>
        <p:spPr>
          <a:xfrm>
            <a:off x="5973561" y="74683"/>
            <a:ext cx="2982479" cy="6646792"/>
          </a:xfrm>
        </p:spPr>
        <p:txBody>
          <a:bodyPr/>
          <a:lstStyle/>
          <a:p>
            <a:r>
              <a:rPr lang="en-US"/>
              <a:t>Click icon to add picture</a:t>
            </a:r>
            <a:endParaRPr lang="en-GB"/>
          </a:p>
        </p:txBody>
      </p:sp>
      <p:sp>
        <p:nvSpPr>
          <p:cNvPr id="2" name="Title 1"/>
          <p:cNvSpPr>
            <a:spLocks noGrp="1"/>
          </p:cNvSpPr>
          <p:nvPr>
            <p:ph type="title"/>
          </p:nvPr>
        </p:nvSpPr>
        <p:spPr>
          <a:xfrm>
            <a:off x="3185082"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8" name="Text Placeholder 5"/>
          <p:cNvSpPr>
            <a:spLocks noGrp="1"/>
          </p:cNvSpPr>
          <p:nvPr>
            <p:ph type="body" sz="quarter" idx="10"/>
          </p:nvPr>
        </p:nvSpPr>
        <p:spPr>
          <a:xfrm>
            <a:off x="3196795" y="1834780"/>
            <a:ext cx="2589516"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grpSp>
        <p:nvGrpSpPr>
          <p:cNvPr id="19" name="Group 18">
            <a:extLst>
              <a:ext uri="{FF2B5EF4-FFF2-40B4-BE49-F238E27FC236}">
                <a16:creationId xmlns:a16="http://schemas.microsoft.com/office/drawing/2014/main" id="{29C60A28-3041-4D0D-A403-EE07EFFDFA57}"/>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173B34B7-33DA-471C-8070-0C32F05123EF}"/>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5AD42786-EE9D-45FF-9041-4BA9B0DA827B}"/>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F55FC130-C330-4E1A-871F-AA21C9656476}"/>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6920B49-723A-4B08-8571-DCCEA47E6C2E}"/>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25" name="Picture 24" descr="ALMA">
            <a:extLst>
              <a:ext uri="{FF2B5EF4-FFF2-40B4-BE49-F238E27FC236}">
                <a16:creationId xmlns:a16="http://schemas.microsoft.com/office/drawing/2014/main" id="{8D27BD4E-1D97-407E-A9C6-738602B9FF3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198627" y="6241772"/>
            <a:ext cx="667364" cy="293851"/>
          </a:xfrm>
          <a:prstGeom prst="rect">
            <a:avLst/>
          </a:prstGeom>
        </p:spPr>
      </p:pic>
    </p:spTree>
    <p:extLst>
      <p:ext uri="{BB962C8B-B14F-4D97-AF65-F5344CB8AC3E}">
        <p14:creationId xmlns:p14="http://schemas.microsoft.com/office/powerpoint/2010/main" val="430072191"/>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Picture Placeholder 5"/>
          <p:cNvSpPr>
            <a:spLocks noGrp="1"/>
          </p:cNvSpPr>
          <p:nvPr>
            <p:ph type="pic" sz="quarter" idx="18"/>
          </p:nvPr>
        </p:nvSpPr>
        <p:spPr>
          <a:xfrm>
            <a:off x="2889294" y="74683"/>
            <a:ext cx="2628560" cy="6646792"/>
          </a:xfrm>
        </p:spPr>
        <p:txBody>
          <a:bodyPr/>
          <a:lstStyle/>
          <a:p>
            <a:r>
              <a:rPr lang="en-US"/>
              <a:t>Click icon to add picture</a:t>
            </a:r>
            <a:endParaRPr lang="en-GB"/>
          </a:p>
        </p:txBody>
      </p:sp>
      <p:sp>
        <p:nvSpPr>
          <p:cNvPr id="18" name="Text Placeholder 5"/>
          <p:cNvSpPr>
            <a:spLocks noGrp="1"/>
          </p:cNvSpPr>
          <p:nvPr>
            <p:ph type="body" sz="quarter" idx="10"/>
          </p:nvPr>
        </p:nvSpPr>
        <p:spPr>
          <a:xfrm>
            <a:off x="532090" y="1834780"/>
            <a:ext cx="2140895"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5"/>
          <p:cNvSpPr>
            <a:spLocks noGrp="1"/>
          </p:cNvSpPr>
          <p:nvPr>
            <p:ph type="body" sz="quarter" idx="19"/>
          </p:nvPr>
        </p:nvSpPr>
        <p:spPr>
          <a:xfrm>
            <a:off x="6441964" y="1893929"/>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0" name="Text Placeholder 17"/>
          <p:cNvSpPr>
            <a:spLocks noGrp="1"/>
          </p:cNvSpPr>
          <p:nvPr>
            <p:ph type="body" sz="quarter" idx="13" hasCustomPrompt="1"/>
          </p:nvPr>
        </p:nvSpPr>
        <p:spPr>
          <a:xfrm>
            <a:off x="5895462" y="1495440"/>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a:t>
            </a:r>
            <a:endParaRPr lang="en-GB" dirty="0"/>
          </a:p>
        </p:txBody>
      </p:sp>
      <p:sp>
        <p:nvSpPr>
          <p:cNvPr id="21" name="Text Placeholder 21"/>
          <p:cNvSpPr>
            <a:spLocks noGrp="1"/>
          </p:cNvSpPr>
          <p:nvPr>
            <p:ph type="body" sz="quarter" idx="16"/>
          </p:nvPr>
        </p:nvSpPr>
        <p:spPr>
          <a:xfrm>
            <a:off x="6441964" y="154604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2" name="Text Placeholder 5"/>
          <p:cNvSpPr>
            <a:spLocks noGrp="1"/>
          </p:cNvSpPr>
          <p:nvPr>
            <p:ph type="body" sz="quarter" idx="20"/>
          </p:nvPr>
        </p:nvSpPr>
        <p:spPr>
          <a:xfrm>
            <a:off x="6441964" y="2959051"/>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4" name="Text Placeholder 21"/>
          <p:cNvSpPr>
            <a:spLocks noGrp="1"/>
          </p:cNvSpPr>
          <p:nvPr>
            <p:ph type="body" sz="quarter" idx="22"/>
          </p:nvPr>
        </p:nvSpPr>
        <p:spPr>
          <a:xfrm>
            <a:off x="6441964" y="261116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5" name="Text Placeholder 5"/>
          <p:cNvSpPr>
            <a:spLocks noGrp="1"/>
          </p:cNvSpPr>
          <p:nvPr>
            <p:ph type="body" sz="quarter" idx="23"/>
          </p:nvPr>
        </p:nvSpPr>
        <p:spPr>
          <a:xfrm>
            <a:off x="6441964" y="3991030"/>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7" name="Text Placeholder 21"/>
          <p:cNvSpPr>
            <a:spLocks noGrp="1"/>
          </p:cNvSpPr>
          <p:nvPr>
            <p:ph type="body" sz="quarter" idx="25"/>
          </p:nvPr>
        </p:nvSpPr>
        <p:spPr>
          <a:xfrm>
            <a:off x="6441964" y="3643143"/>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8" name="Text Placeholder 5"/>
          <p:cNvSpPr>
            <a:spLocks noGrp="1"/>
          </p:cNvSpPr>
          <p:nvPr>
            <p:ph type="body" sz="quarter" idx="26"/>
          </p:nvPr>
        </p:nvSpPr>
        <p:spPr>
          <a:xfrm>
            <a:off x="6441964" y="5050140"/>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30" name="Text Placeholder 21"/>
          <p:cNvSpPr>
            <a:spLocks noGrp="1"/>
          </p:cNvSpPr>
          <p:nvPr>
            <p:ph type="body" sz="quarter" idx="28"/>
          </p:nvPr>
        </p:nvSpPr>
        <p:spPr>
          <a:xfrm>
            <a:off x="6441964" y="470225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31" name="Text Placeholder 17"/>
          <p:cNvSpPr>
            <a:spLocks noGrp="1"/>
          </p:cNvSpPr>
          <p:nvPr>
            <p:ph type="body" sz="quarter" idx="29" hasCustomPrompt="1"/>
          </p:nvPr>
        </p:nvSpPr>
        <p:spPr>
          <a:xfrm>
            <a:off x="5895462" y="2583566"/>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GB" dirty="0"/>
              <a:t>2</a:t>
            </a:r>
          </a:p>
        </p:txBody>
      </p:sp>
      <p:sp>
        <p:nvSpPr>
          <p:cNvPr id="32" name="Text Placeholder 17"/>
          <p:cNvSpPr>
            <a:spLocks noGrp="1"/>
          </p:cNvSpPr>
          <p:nvPr>
            <p:ph type="body" sz="quarter" idx="30" hasCustomPrompt="1"/>
          </p:nvPr>
        </p:nvSpPr>
        <p:spPr>
          <a:xfrm>
            <a:off x="5895462" y="3615545"/>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3</a:t>
            </a:r>
            <a:endParaRPr lang="en-GB" dirty="0"/>
          </a:p>
        </p:txBody>
      </p:sp>
      <p:sp>
        <p:nvSpPr>
          <p:cNvPr id="33" name="Text Placeholder 17"/>
          <p:cNvSpPr>
            <a:spLocks noGrp="1"/>
          </p:cNvSpPr>
          <p:nvPr>
            <p:ph type="body" sz="quarter" idx="31" hasCustomPrompt="1"/>
          </p:nvPr>
        </p:nvSpPr>
        <p:spPr>
          <a:xfrm>
            <a:off x="5895462" y="4647524"/>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4</a:t>
            </a:r>
            <a:endParaRPr lang="en-GB" dirty="0"/>
          </a:p>
        </p:txBody>
      </p:sp>
      <p:grpSp>
        <p:nvGrpSpPr>
          <p:cNvPr id="29" name="Group 28">
            <a:extLst>
              <a:ext uri="{FF2B5EF4-FFF2-40B4-BE49-F238E27FC236}">
                <a16:creationId xmlns:a16="http://schemas.microsoft.com/office/drawing/2014/main" id="{7B544354-C832-42B2-858D-B88F66D15E0D}"/>
              </a:ext>
            </a:extLst>
          </p:cNvPr>
          <p:cNvGrpSpPr/>
          <p:nvPr userDrawn="1"/>
        </p:nvGrpSpPr>
        <p:grpSpPr>
          <a:xfrm>
            <a:off x="1098" y="6646792"/>
            <a:ext cx="8960340" cy="74683"/>
            <a:chOff x="0" y="0"/>
            <a:chExt cx="12190506" cy="295275"/>
          </a:xfrm>
        </p:grpSpPr>
        <p:sp>
          <p:nvSpPr>
            <p:cNvPr id="34" name="Rectangle 33">
              <a:extLst>
                <a:ext uri="{FF2B5EF4-FFF2-40B4-BE49-F238E27FC236}">
                  <a16:creationId xmlns:a16="http://schemas.microsoft.com/office/drawing/2014/main" id="{48EFF5A2-7C1D-4F3E-AAD6-4482AD40B27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5" name="Rectangle 34">
              <a:extLst>
                <a:ext uri="{FF2B5EF4-FFF2-40B4-BE49-F238E27FC236}">
                  <a16:creationId xmlns:a16="http://schemas.microsoft.com/office/drawing/2014/main" id="{0BFF3EE8-858D-4327-9072-C47D646E5E30}"/>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6" name="Rectangle 35">
              <a:extLst>
                <a:ext uri="{FF2B5EF4-FFF2-40B4-BE49-F238E27FC236}">
                  <a16:creationId xmlns:a16="http://schemas.microsoft.com/office/drawing/2014/main" id="{ACE38F40-DDBC-4556-9FE9-2F57EF389350}"/>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7" name="Rectangle 36">
              <a:extLst>
                <a:ext uri="{FF2B5EF4-FFF2-40B4-BE49-F238E27FC236}">
                  <a16:creationId xmlns:a16="http://schemas.microsoft.com/office/drawing/2014/main" id="{8FDED2F6-2E73-408D-B0A1-595D0D94475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8" name="Text Placeholder 6">
            <a:extLst>
              <a:ext uri="{FF2B5EF4-FFF2-40B4-BE49-F238E27FC236}">
                <a16:creationId xmlns:a16="http://schemas.microsoft.com/office/drawing/2014/main" id="{78121E1A-CD03-47AE-8251-88FB51C04B76}"/>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9" name="Picture 38" descr="ALMA">
            <a:extLst>
              <a:ext uri="{FF2B5EF4-FFF2-40B4-BE49-F238E27FC236}">
                <a16:creationId xmlns:a16="http://schemas.microsoft.com/office/drawing/2014/main" id="{38565F8F-E370-4F51-95CB-1CCA30D7E15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032106833"/>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 name="Title 1"/>
          <p:cNvSpPr>
            <a:spLocks noGrp="1"/>
          </p:cNvSpPr>
          <p:nvPr>
            <p:ph type="title"/>
          </p:nvPr>
        </p:nvSpPr>
        <p:spPr>
          <a:xfrm>
            <a:off x="532089" y="445499"/>
            <a:ext cx="2364931" cy="570118"/>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a:defRPr lang="en-US" sz="1029" dirty="0" smtClean="0">
                <a:solidFill>
                  <a:schemeClr val="bg1"/>
                </a:solidFill>
                <a:latin typeface="+mj-lt"/>
              </a:defRPr>
            </a:lvl2pPr>
            <a:lvl3pPr>
              <a:defRPr lang="en-US" sz="1029" dirty="0" smtClean="0">
                <a:solidFill>
                  <a:schemeClr val="bg1"/>
                </a:solidFill>
                <a:latin typeface="+mj-lt"/>
              </a:defRPr>
            </a:lvl3pPr>
            <a:lvl4pPr>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8" name="Group 17">
            <a:extLst>
              <a:ext uri="{FF2B5EF4-FFF2-40B4-BE49-F238E27FC236}">
                <a16:creationId xmlns:a16="http://schemas.microsoft.com/office/drawing/2014/main" id="{1066B2AD-6A8B-47E2-8134-63A70420DBA1}"/>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931BE30A-B6E4-4FE7-A239-5B86C30FCD1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63595399-1E8E-4F31-BBD2-284C3E7B8555}"/>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91E88427-59D7-4433-AA08-3D7A81E9804B}"/>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3511BEC9-2C54-468B-ADD4-ACF919A6616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3" name="Text Placeholder 6">
            <a:extLst>
              <a:ext uri="{FF2B5EF4-FFF2-40B4-BE49-F238E27FC236}">
                <a16:creationId xmlns:a16="http://schemas.microsoft.com/office/drawing/2014/main" id="{6687C554-BD55-4420-B687-25231660350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4" name="Picture 23" descr="ALMA">
            <a:extLst>
              <a:ext uri="{FF2B5EF4-FFF2-40B4-BE49-F238E27FC236}">
                <a16:creationId xmlns:a16="http://schemas.microsoft.com/office/drawing/2014/main" id="{7F17DE6F-646F-42BF-9E84-0660E25528A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91791845"/>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23"/>
          </a:p>
        </p:txBody>
      </p:sp>
      <p:sp>
        <p:nvSpPr>
          <p:cNvPr id="2" name="Title 1"/>
          <p:cNvSpPr>
            <a:spLocks noGrp="1"/>
          </p:cNvSpPr>
          <p:nvPr>
            <p:ph type="title"/>
          </p:nvPr>
        </p:nvSpPr>
        <p:spPr>
          <a:xfrm>
            <a:off x="532089" y="445497"/>
            <a:ext cx="2364931" cy="570118"/>
          </a:xfrm>
        </p:spPr>
        <p:txBody>
          <a:bodyPr wrap="square" lIns="0" tIns="0" rIns="0" bIns="0" anchor="t">
            <a:spAutoFit/>
          </a:bodyPr>
          <a:lstStyle>
            <a:lvl1pPr>
              <a:defRPr sz="2058" b="1" baseline="0">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tx1"/>
                </a:solidFill>
                <a:latin typeface="+mj-lt"/>
              </a:defRPr>
            </a:lvl1pPr>
            <a:lvl2pPr>
              <a:defRPr lang="en-US" sz="1029" dirty="0" smtClean="0">
                <a:solidFill>
                  <a:schemeClr val="tx1"/>
                </a:solidFill>
                <a:latin typeface="+mj-lt"/>
              </a:defRPr>
            </a:lvl2pPr>
            <a:lvl3pPr>
              <a:defRPr lang="en-US" sz="1029" dirty="0" smtClean="0">
                <a:solidFill>
                  <a:schemeClr val="tx1"/>
                </a:solidFill>
                <a:latin typeface="+mj-lt"/>
              </a:defRPr>
            </a:lvl3pPr>
            <a:lvl4pPr>
              <a:defRPr lang="en-US" sz="1029" dirty="0" smtClean="0">
                <a:solidFill>
                  <a:schemeClr val="tx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8" name="Group 17">
            <a:extLst>
              <a:ext uri="{FF2B5EF4-FFF2-40B4-BE49-F238E27FC236}">
                <a16:creationId xmlns:a16="http://schemas.microsoft.com/office/drawing/2014/main" id="{3CCCD981-BE23-4A41-BBFD-9CAEF87FD332}"/>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A7559442-BA16-43E9-8161-5233AC18853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0105BB14-52AF-4B74-A3BB-2375EDE8398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6FA1D545-13A6-444F-99DE-F7B855F0D11A}"/>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1C67DD36-8999-425C-9FF5-756826AB0D37}"/>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3" name="Text Placeholder 6">
            <a:extLst>
              <a:ext uri="{FF2B5EF4-FFF2-40B4-BE49-F238E27FC236}">
                <a16:creationId xmlns:a16="http://schemas.microsoft.com/office/drawing/2014/main" id="{9C427437-A62D-4E93-922F-D3150EE521F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4" name="Picture 23" descr="ALMA">
            <a:extLst>
              <a:ext uri="{FF2B5EF4-FFF2-40B4-BE49-F238E27FC236}">
                <a16:creationId xmlns:a16="http://schemas.microsoft.com/office/drawing/2014/main" id="{A2684FA5-3CEC-4548-89DD-E5572976CD2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73154481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9272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Picture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6" name="Picture Placeholder 5"/>
          <p:cNvSpPr>
            <a:spLocks noGrp="1"/>
          </p:cNvSpPr>
          <p:nvPr>
            <p:ph type="pic" sz="quarter" idx="10"/>
          </p:nvPr>
        </p:nvSpPr>
        <p:spPr>
          <a:xfrm>
            <a:off x="0" y="74685"/>
            <a:ext cx="4480719" cy="6646791"/>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8" y="445496"/>
            <a:ext cx="1820292" cy="855177"/>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6"/>
          <p:cNvSpPr>
            <a:spLocks noGrp="1"/>
          </p:cNvSpPr>
          <p:nvPr>
            <p:ph type="body" sz="quarter" idx="11"/>
          </p:nvPr>
        </p:nvSpPr>
        <p:spPr>
          <a:xfrm>
            <a:off x="532090" y="2318538"/>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a:defRPr lang="en-US" sz="1029" dirty="0" smtClean="0">
                <a:solidFill>
                  <a:schemeClr val="bg1"/>
                </a:solidFill>
                <a:latin typeface="+mj-lt"/>
              </a:defRPr>
            </a:lvl2pPr>
            <a:lvl3pPr>
              <a:defRPr lang="en-US" sz="1029" dirty="0" smtClean="0">
                <a:solidFill>
                  <a:schemeClr val="bg1"/>
                </a:solidFill>
                <a:latin typeface="+mj-lt"/>
              </a:defRPr>
            </a:lvl3pPr>
            <a:lvl4pPr>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9" name="Group 18">
            <a:extLst>
              <a:ext uri="{FF2B5EF4-FFF2-40B4-BE49-F238E27FC236}">
                <a16:creationId xmlns:a16="http://schemas.microsoft.com/office/drawing/2014/main" id="{6FDE6B93-3C0B-416F-8AF6-7BA06DAB9BA3}"/>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D5B7E585-898B-4829-968E-C9565D78A182}"/>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A0A37CF3-8B89-4CA5-AFF9-E9F3EBD29C59}"/>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0BCC67F4-665B-421C-980A-2662904DE14F}"/>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586A3566-E47D-4390-B2F7-6C9EF17DA01A}"/>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BA1019F7-D1E1-4BBE-A194-C5301C1350C0}"/>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43934869-7EE8-463F-972B-10F131D7915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928861635"/>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Picture Lef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352817" y="74685"/>
            <a:ext cx="5608624" cy="6646791"/>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8" y="445496"/>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6"/>
          <p:cNvSpPr>
            <a:spLocks noGrp="1"/>
          </p:cNvSpPr>
          <p:nvPr>
            <p:ph type="body" sz="quarter" idx="11"/>
          </p:nvPr>
        </p:nvSpPr>
        <p:spPr>
          <a:xfrm>
            <a:off x="532090" y="2318538"/>
            <a:ext cx="2364931" cy="763488"/>
          </a:xfrm>
        </p:spPr>
        <p:txBody>
          <a:bodyPr vert="horz" wrap="square" lIns="0" tIns="0" rIns="0" bIns="0" rtlCol="0">
            <a:spAutoFit/>
          </a:bodyPr>
          <a:lstStyle>
            <a:lvl1pPr marL="0" indent="0">
              <a:buNone/>
              <a:defRPr lang="en-US" sz="1029" dirty="0" smtClean="0">
                <a:solidFill>
                  <a:schemeClr val="tx1">
                    <a:lumMod val="75000"/>
                    <a:lumOff val="25000"/>
                  </a:schemeClr>
                </a:solidFill>
                <a:latin typeface="+mj-lt"/>
              </a:defRPr>
            </a:lvl1pPr>
            <a:lvl2pPr>
              <a:defRPr lang="en-US" sz="1029" dirty="0" smtClean="0">
                <a:solidFill>
                  <a:schemeClr val="tx1">
                    <a:lumMod val="75000"/>
                    <a:lumOff val="25000"/>
                  </a:schemeClr>
                </a:solidFill>
                <a:latin typeface="+mj-lt"/>
              </a:defRPr>
            </a:lvl2pPr>
            <a:lvl3pPr>
              <a:defRPr lang="en-US" sz="1029" dirty="0" smtClean="0">
                <a:solidFill>
                  <a:schemeClr val="tx1">
                    <a:lumMod val="75000"/>
                    <a:lumOff val="25000"/>
                  </a:schemeClr>
                </a:solidFill>
                <a:latin typeface="+mj-lt"/>
              </a:defRPr>
            </a:lvl3pPr>
            <a:lvl4pPr>
              <a:defRPr lang="en-US" sz="1029" dirty="0" smtClean="0">
                <a:solidFill>
                  <a:schemeClr val="tx1">
                    <a:lumMod val="75000"/>
                    <a:lumOff val="25000"/>
                  </a:schemeClr>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sp>
        <p:nvSpPr>
          <p:cNvPr id="18" name="Text Placeholder 6"/>
          <p:cNvSpPr>
            <a:spLocks noGrp="1"/>
          </p:cNvSpPr>
          <p:nvPr>
            <p:ph type="body" sz="quarter" idx="12"/>
          </p:nvPr>
        </p:nvSpPr>
        <p:spPr>
          <a:xfrm>
            <a:off x="3707216" y="445495"/>
            <a:ext cx="2843904" cy="692285"/>
          </a:xfrm>
        </p:spPr>
        <p:txBody>
          <a:bodyPr vert="horz" wrap="square" lIns="0" tIns="0" rIns="0" bIns="0" rtlCol="0" anchor="t">
            <a:spAutoFit/>
          </a:bodyPr>
          <a:lstStyle>
            <a:lvl1pPr marL="0" indent="0">
              <a:defRPr lang="en-US" sz="2499" b="1" baseline="0" dirty="0" smtClean="0">
                <a:solidFill>
                  <a:schemeClr val="bg1"/>
                </a:solidFill>
                <a:latin typeface="Arial" panose="020B0604020202020204" pitchFamily="34" charset="0"/>
                <a:ea typeface="+mj-ea"/>
                <a:cs typeface="Arial" panose="020B0604020202020204" pitchFamily="34" charset="0"/>
              </a:defRPr>
            </a:lvl1pPr>
            <a:lvl2pPr>
              <a:defRPr lang="en-US" dirty="0" smtClean="0"/>
            </a:lvl2pPr>
            <a:lvl3pPr>
              <a:defRPr lang="en-US" dirty="0" smtClean="0"/>
            </a:lvl3pPr>
            <a:lvl4pPr>
              <a:defRPr lang="en-US" dirty="0" smtClean="0"/>
            </a:lvl4pPr>
          </a:lstStyle>
          <a:p>
            <a:pPr lvl="0">
              <a:spcBef>
                <a:spcPct val="0"/>
              </a:spcBef>
              <a:buNone/>
            </a:pPr>
            <a:r>
              <a:rPr lang="en-US"/>
              <a:t>Edit Master text styles</a:t>
            </a:r>
          </a:p>
        </p:txBody>
      </p:sp>
      <p:grpSp>
        <p:nvGrpSpPr>
          <p:cNvPr id="19" name="Group 18">
            <a:extLst>
              <a:ext uri="{FF2B5EF4-FFF2-40B4-BE49-F238E27FC236}">
                <a16:creationId xmlns:a16="http://schemas.microsoft.com/office/drawing/2014/main" id="{B8E38C39-F41E-436F-89AA-B8ABA875F163}"/>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556B8B37-18FA-48E5-A005-7F12D584F0DB}"/>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66A0C315-F0C2-4448-AB16-F35441B63D5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237B9B5A-BB97-419D-983B-C59C73E56073}"/>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536FF1C0-5F83-4BBF-8DC8-503EA03C5E86}"/>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F5F12874-3115-413C-A470-F801517D6630}"/>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3D4589E5-FBF8-44F0-855C-F06333466E7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4281868300"/>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 name="Title 1"/>
          <p:cNvSpPr>
            <a:spLocks noGrp="1"/>
          </p:cNvSpPr>
          <p:nvPr>
            <p:ph type="title"/>
          </p:nvPr>
        </p:nvSpPr>
        <p:spPr>
          <a:xfrm>
            <a:off x="532089" y="445499"/>
            <a:ext cx="2364931" cy="570118"/>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marL="0" indent="0">
              <a:buNone/>
              <a:defRPr lang="en-US" sz="1029" dirty="0" smtClean="0">
                <a:solidFill>
                  <a:schemeClr val="bg1"/>
                </a:solidFill>
                <a:latin typeface="+mj-lt"/>
              </a:defRPr>
            </a:lvl2pPr>
            <a:lvl3pPr marL="168017" indent="0">
              <a:buNone/>
              <a:defRPr lang="en-US" sz="1029" dirty="0" smtClean="0">
                <a:solidFill>
                  <a:schemeClr val="bg1"/>
                </a:solidFill>
                <a:latin typeface="+mj-lt"/>
              </a:defRPr>
            </a:lvl3pPr>
            <a:lvl4pPr marL="336034" indent="0">
              <a:buNone/>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sp>
        <p:nvSpPr>
          <p:cNvPr id="17" name="Text Placeholder 5"/>
          <p:cNvSpPr>
            <a:spLocks noGrp="1"/>
          </p:cNvSpPr>
          <p:nvPr>
            <p:ph type="body" sz="quarter" idx="11"/>
          </p:nvPr>
        </p:nvSpPr>
        <p:spPr>
          <a:xfrm>
            <a:off x="6194267" y="1857876"/>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121930" y="1465368"/>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0AM</a:t>
            </a:r>
            <a:endParaRPr lang="en-GB" dirty="0"/>
          </a:p>
        </p:txBody>
      </p:sp>
      <p:sp>
        <p:nvSpPr>
          <p:cNvPr id="19" name="Text Placeholder 21"/>
          <p:cNvSpPr>
            <a:spLocks noGrp="1"/>
          </p:cNvSpPr>
          <p:nvPr>
            <p:ph type="body" sz="quarter" idx="16"/>
          </p:nvPr>
        </p:nvSpPr>
        <p:spPr>
          <a:xfrm>
            <a:off x="6194267" y="1465367"/>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0" name="Text Placeholder 5"/>
          <p:cNvSpPr>
            <a:spLocks noGrp="1"/>
          </p:cNvSpPr>
          <p:nvPr>
            <p:ph type="body" sz="quarter" idx="17"/>
          </p:nvPr>
        </p:nvSpPr>
        <p:spPr>
          <a:xfrm>
            <a:off x="6194267" y="2992304"/>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1" name="Text Placeholder 17"/>
          <p:cNvSpPr>
            <a:spLocks noGrp="1"/>
          </p:cNvSpPr>
          <p:nvPr>
            <p:ph type="body" sz="quarter" idx="18" hasCustomPrompt="1"/>
          </p:nvPr>
        </p:nvSpPr>
        <p:spPr>
          <a:xfrm>
            <a:off x="5121930" y="2599799"/>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2PM</a:t>
            </a:r>
            <a:endParaRPr lang="en-GB" dirty="0"/>
          </a:p>
        </p:txBody>
      </p:sp>
      <p:sp>
        <p:nvSpPr>
          <p:cNvPr id="22" name="Text Placeholder 21"/>
          <p:cNvSpPr>
            <a:spLocks noGrp="1"/>
          </p:cNvSpPr>
          <p:nvPr>
            <p:ph type="body" sz="quarter" idx="19"/>
          </p:nvPr>
        </p:nvSpPr>
        <p:spPr>
          <a:xfrm>
            <a:off x="6194267" y="2599795"/>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3" name="Text Placeholder 5"/>
          <p:cNvSpPr>
            <a:spLocks noGrp="1"/>
          </p:cNvSpPr>
          <p:nvPr>
            <p:ph type="body" sz="quarter" idx="20"/>
          </p:nvPr>
        </p:nvSpPr>
        <p:spPr>
          <a:xfrm>
            <a:off x="6194267" y="4180554"/>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4" name="Text Placeholder 17"/>
          <p:cNvSpPr>
            <a:spLocks noGrp="1"/>
          </p:cNvSpPr>
          <p:nvPr>
            <p:ph type="body" sz="quarter" idx="21" hasCustomPrompt="1"/>
          </p:nvPr>
        </p:nvSpPr>
        <p:spPr>
          <a:xfrm>
            <a:off x="5121930" y="3788050"/>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3PM</a:t>
            </a:r>
            <a:endParaRPr lang="en-GB" dirty="0"/>
          </a:p>
        </p:txBody>
      </p:sp>
      <p:sp>
        <p:nvSpPr>
          <p:cNvPr id="25" name="Text Placeholder 21"/>
          <p:cNvSpPr>
            <a:spLocks noGrp="1"/>
          </p:cNvSpPr>
          <p:nvPr>
            <p:ph type="body" sz="quarter" idx="22"/>
          </p:nvPr>
        </p:nvSpPr>
        <p:spPr>
          <a:xfrm>
            <a:off x="6194267" y="3788045"/>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6" name="Text Placeholder 5"/>
          <p:cNvSpPr>
            <a:spLocks noGrp="1"/>
          </p:cNvSpPr>
          <p:nvPr>
            <p:ph type="body" sz="quarter" idx="23"/>
          </p:nvPr>
        </p:nvSpPr>
        <p:spPr>
          <a:xfrm>
            <a:off x="6194267" y="531206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7" name="Text Placeholder 17"/>
          <p:cNvSpPr>
            <a:spLocks noGrp="1"/>
          </p:cNvSpPr>
          <p:nvPr>
            <p:ph type="body" sz="quarter" idx="24" hasCustomPrompt="1"/>
          </p:nvPr>
        </p:nvSpPr>
        <p:spPr>
          <a:xfrm>
            <a:off x="5121930" y="4919564"/>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7PM</a:t>
            </a:r>
            <a:endParaRPr lang="en-GB" dirty="0"/>
          </a:p>
        </p:txBody>
      </p:sp>
      <p:sp>
        <p:nvSpPr>
          <p:cNvPr id="28" name="Text Placeholder 21"/>
          <p:cNvSpPr>
            <a:spLocks noGrp="1"/>
          </p:cNvSpPr>
          <p:nvPr>
            <p:ph type="body" sz="quarter" idx="25"/>
          </p:nvPr>
        </p:nvSpPr>
        <p:spPr>
          <a:xfrm>
            <a:off x="6194267" y="4919559"/>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grpSp>
        <p:nvGrpSpPr>
          <p:cNvPr id="30" name="Group 29">
            <a:extLst>
              <a:ext uri="{FF2B5EF4-FFF2-40B4-BE49-F238E27FC236}">
                <a16:creationId xmlns:a16="http://schemas.microsoft.com/office/drawing/2014/main" id="{673B4715-49B1-4176-BA19-5328852D6F26}"/>
              </a:ext>
            </a:extLst>
          </p:cNvPr>
          <p:cNvGrpSpPr/>
          <p:nvPr userDrawn="1"/>
        </p:nvGrpSpPr>
        <p:grpSpPr>
          <a:xfrm>
            <a:off x="1098" y="6646792"/>
            <a:ext cx="8960340" cy="74683"/>
            <a:chOff x="0" y="0"/>
            <a:chExt cx="12190506" cy="295275"/>
          </a:xfrm>
        </p:grpSpPr>
        <p:sp>
          <p:nvSpPr>
            <p:cNvPr id="31" name="Rectangle 30">
              <a:extLst>
                <a:ext uri="{FF2B5EF4-FFF2-40B4-BE49-F238E27FC236}">
                  <a16:creationId xmlns:a16="http://schemas.microsoft.com/office/drawing/2014/main" id="{DEB7E33E-CBF1-49DF-BD62-3DAA2C728AB1}"/>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2" name="Rectangle 31">
              <a:extLst>
                <a:ext uri="{FF2B5EF4-FFF2-40B4-BE49-F238E27FC236}">
                  <a16:creationId xmlns:a16="http://schemas.microsoft.com/office/drawing/2014/main" id="{9ECD965C-5A4E-41E4-96D7-6B798BDE590A}"/>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3" name="Rectangle 32">
              <a:extLst>
                <a:ext uri="{FF2B5EF4-FFF2-40B4-BE49-F238E27FC236}">
                  <a16:creationId xmlns:a16="http://schemas.microsoft.com/office/drawing/2014/main" id="{8784FA93-0088-4C93-9104-36E4EC0E3ED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4" name="Rectangle 33">
              <a:extLst>
                <a:ext uri="{FF2B5EF4-FFF2-40B4-BE49-F238E27FC236}">
                  <a16:creationId xmlns:a16="http://schemas.microsoft.com/office/drawing/2014/main" id="{85528A3B-3240-4AA7-A526-F2F042F7584A}"/>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5" name="Text Placeholder 6">
            <a:extLst>
              <a:ext uri="{FF2B5EF4-FFF2-40B4-BE49-F238E27FC236}">
                <a16:creationId xmlns:a16="http://schemas.microsoft.com/office/drawing/2014/main" id="{8E9006FC-9BF5-4228-9C04-B11D9FE815C9}"/>
              </a:ext>
            </a:extLst>
          </p:cNvPr>
          <p:cNvSpPr>
            <a:spLocks noGrp="1"/>
          </p:cNvSpPr>
          <p:nvPr>
            <p:ph type="body" sz="quarter" idx="26"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6" name="Picture 35" descr="ALMA">
            <a:extLst>
              <a:ext uri="{FF2B5EF4-FFF2-40B4-BE49-F238E27FC236}">
                <a16:creationId xmlns:a16="http://schemas.microsoft.com/office/drawing/2014/main" id="{83F3A5AD-AA22-4629-A65F-F8F3BDF742D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1858429356"/>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6" name="Picture Placeholder 5"/>
          <p:cNvSpPr>
            <a:spLocks noGrp="1"/>
          </p:cNvSpPr>
          <p:nvPr>
            <p:ph type="pic" sz="quarter" idx="18"/>
          </p:nvPr>
        </p:nvSpPr>
        <p:spPr>
          <a:xfrm>
            <a:off x="2897301" y="1380081"/>
            <a:ext cx="6062973" cy="4336284"/>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7" y="2841336"/>
            <a:ext cx="2797552" cy="733008"/>
          </a:xfrm>
        </p:spPr>
        <p:txBody>
          <a:bodyPr wrap="square" lIns="0" tIns="0" rIns="0" bIns="0" anchor="ctr">
            <a:spAutoFit/>
          </a:bodyPr>
          <a:lstStyle>
            <a:lvl1pPr>
              <a:defRPr sz="264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5"/>
          <p:cNvSpPr>
            <a:spLocks noGrp="1"/>
          </p:cNvSpPr>
          <p:nvPr>
            <p:ph type="body" sz="quarter" idx="10"/>
          </p:nvPr>
        </p:nvSpPr>
        <p:spPr>
          <a:xfrm>
            <a:off x="532090"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grpSp>
        <p:nvGrpSpPr>
          <p:cNvPr id="20" name="Group 19">
            <a:extLst>
              <a:ext uri="{FF2B5EF4-FFF2-40B4-BE49-F238E27FC236}">
                <a16:creationId xmlns:a16="http://schemas.microsoft.com/office/drawing/2014/main" id="{61B45808-91D0-4DAA-BD43-CFAB2364EFD4}"/>
              </a:ext>
            </a:extLst>
          </p:cNvPr>
          <p:cNvGrpSpPr/>
          <p:nvPr userDrawn="1"/>
        </p:nvGrpSpPr>
        <p:grpSpPr>
          <a:xfrm>
            <a:off x="1098" y="6646792"/>
            <a:ext cx="8960340" cy="74683"/>
            <a:chOff x="0" y="0"/>
            <a:chExt cx="12190506" cy="295275"/>
          </a:xfrm>
        </p:grpSpPr>
        <p:sp>
          <p:nvSpPr>
            <p:cNvPr id="21" name="Rectangle 20">
              <a:extLst>
                <a:ext uri="{FF2B5EF4-FFF2-40B4-BE49-F238E27FC236}">
                  <a16:creationId xmlns:a16="http://schemas.microsoft.com/office/drawing/2014/main" id="{35E0747C-16D4-4127-AAEB-46497EEF6A05}"/>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DCDCA094-D19C-433F-B9B3-C7B8FFA052A9}"/>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D2DB81B-AAF2-43B0-A6A3-E578FB75319C}"/>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4" name="Rectangle 23">
              <a:extLst>
                <a:ext uri="{FF2B5EF4-FFF2-40B4-BE49-F238E27FC236}">
                  <a16:creationId xmlns:a16="http://schemas.microsoft.com/office/drawing/2014/main" id="{E5FD134E-CFCF-43F7-949D-64B06D26856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26" name="Picture 25" descr="ALMA">
            <a:extLst>
              <a:ext uri="{FF2B5EF4-FFF2-40B4-BE49-F238E27FC236}">
                <a16:creationId xmlns:a16="http://schemas.microsoft.com/office/drawing/2014/main" id="{82E0FD52-E2F9-4A76-A124-ACAFF1078CF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934550591"/>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738" dirty="0">
              <a:solidFill>
                <a:prstClr val="black"/>
              </a:solidFill>
              <a:latin typeface="Arial"/>
            </a:endParaRPr>
          </a:p>
        </p:txBody>
      </p:sp>
      <p:grpSp>
        <p:nvGrpSpPr>
          <p:cNvPr id="2" name="Title Elements"/>
          <p:cNvGrpSpPr/>
          <p:nvPr userDrawn="1"/>
        </p:nvGrpSpPr>
        <p:grpSpPr>
          <a:xfrm>
            <a:off x="0" y="1"/>
            <a:ext cx="8958264" cy="6723063"/>
            <a:chOff x="0" y="0"/>
            <a:chExt cx="8958264" cy="6723063"/>
          </a:xfrm>
        </p:grpSpPr>
        <p:sp>
          <p:nvSpPr>
            <p:cNvPr id="9" name="Document type" hidden="1"/>
            <p:cNvSpPr txBox="1">
              <a:spLocks noChangeArrowheads="1"/>
            </p:cNvSpPr>
            <p:nvPr/>
          </p:nvSpPr>
          <p:spPr bwMode="auto">
            <a:xfrm>
              <a:off x="2640013" y="4947838"/>
              <a:ext cx="4935538" cy="198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92"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198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92" dirty="0">
                  <a:solidFill>
                    <a:prstClr val="black"/>
                  </a:solidFill>
                  <a:latin typeface="Arial"/>
                </a:rPr>
                <a:t>Date</a:t>
              </a:r>
            </a:p>
          </p:txBody>
        </p:sp>
        <p:sp>
          <p:nvSpPr>
            <p:cNvPr id="11" name="Disclaimer" hidden="1"/>
            <p:cNvSpPr>
              <a:spLocks noChangeArrowheads="1"/>
            </p:cNvSpPr>
            <p:nvPr/>
          </p:nvSpPr>
          <p:spPr bwMode="auto">
            <a:xfrm>
              <a:off x="2640013" y="5913337"/>
              <a:ext cx="5121275" cy="227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742859" eaLnBrk="0" hangingPunct="0"/>
              <a:r>
                <a:rPr lang="en-US" sz="738" dirty="0">
                  <a:solidFill>
                    <a:prstClr val="black"/>
                  </a:solidFill>
                  <a:latin typeface="Arial"/>
                </a:rPr>
                <a:t>CONFIDENTIAL AND PROPRIETARY</a:t>
              </a:r>
            </a:p>
            <a:p>
              <a:pPr defTabSz="742859" eaLnBrk="0" hangingPunct="0"/>
              <a:r>
                <a:rPr lang="en-US" sz="738"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2"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62"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2"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173913" y="6443664"/>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5"/>
            <a:ext cx="7879488" cy="672176"/>
          </a:xfrm>
          <a:prstGeom prst="rect">
            <a:avLst/>
          </a:prstGeom>
        </p:spPr>
        <p:txBody>
          <a:bodyPr/>
          <a:lstStyle>
            <a:lvl1pPr>
              <a:defRPr sz="3876"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3" y="4598902"/>
            <a:ext cx="4935537" cy="373628"/>
          </a:xfrm>
          <a:prstGeom prst="rect">
            <a:avLst/>
          </a:prstGeom>
        </p:spPr>
        <p:txBody>
          <a:bodyPr>
            <a:spAutoFit/>
          </a:bodyPr>
          <a:lstStyle>
            <a:lvl1pPr>
              <a:defRPr sz="2031"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41183945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855042"/>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88727"/>
            <a:ext cx="6911276" cy="118174"/>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53408287"/>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059976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35914425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53378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51724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8" imgW="360" imgH="360" progId="">
                  <p:embed/>
                </p:oleObj>
              </mc:Choice>
              <mc:Fallback>
                <p:oleObj name="think-cell Slide" r:id="rId18" imgW="360" imgH="360" progId="">
                  <p:embed/>
                  <p:pic>
                    <p:nvPicPr>
                      <p:cNvPr id="3" name="Object 30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2"/>
            </p:custDataLst>
          </p:nvPr>
        </p:nvGrpSpPr>
        <p:grpSpPr bwMode="auto">
          <a:xfrm flipH="1">
            <a:off x="8089907" y="6300810"/>
            <a:ext cx="869950" cy="420687"/>
            <a:chOff x="0" y="647"/>
            <a:chExt cx="2278" cy="3325"/>
          </a:xfrm>
        </p:grpSpPr>
        <p:sp>
          <p:nvSpPr>
            <p:cNvPr id="5" name="Freeform 28"/>
            <p:cNvSpPr>
              <a:spLocks/>
            </p:cNvSpPr>
            <p:nvPr>
              <p:custDataLst>
                <p:tags r:id="rId15"/>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6"/>
              </p:custDataLst>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7" name="SlideLogoText"/>
          <p:cNvSpPr>
            <a:spLocks noChangeArrowheads="1"/>
          </p:cNvSpPr>
          <p:nvPr>
            <p:custDataLst>
              <p:tags r:id="rId3"/>
            </p:custDataLst>
          </p:nvPr>
        </p:nvSpPr>
        <p:spPr bwMode="auto">
          <a:xfrm>
            <a:off x="7108180" y="6479382"/>
            <a:ext cx="1053173" cy="1508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4"/>
            </p:custDataLst>
          </p:nvPr>
        </p:nvSpPr>
        <p:spPr bwMode="auto">
          <a:xfrm>
            <a:off x="119063" y="26989"/>
            <a:ext cx="838371"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5"/>
            </p:custDataLst>
          </p:nvPr>
        </p:nvSpPr>
        <p:spPr bwMode="auto">
          <a:xfrm>
            <a:off x="119063" y="531813"/>
            <a:ext cx="3656012"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6"/>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7"/>
            </p:custDataLst>
          </p:nvPr>
        </p:nvSpPr>
        <p:spPr bwMode="auto">
          <a:xfrm rot="5400000">
            <a:off x="7964276" y="1934377"/>
            <a:ext cx="1854675"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8"/>
            </p:custDataLst>
          </p:nvPr>
        </p:nvSpPr>
        <p:spPr bwMode="auto">
          <a:xfrm rot="5400000">
            <a:off x="8049211" y="3852871"/>
            <a:ext cx="1684757"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9"/>
            </p:custDataLst>
          </p:nvPr>
        </p:nvSpPr>
        <p:spPr bwMode="auto">
          <a:xfrm>
            <a:off x="8248277" y="6447647"/>
            <a:ext cx="38473" cy="1809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0"/>
            </p:custDataLst>
          </p:nvPr>
        </p:nvSpPr>
        <p:spPr bwMode="auto">
          <a:xfrm>
            <a:off x="8081970" y="36513"/>
            <a:ext cx="657225"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1"/>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2"/>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3"/>
            </p:custDataLst>
          </p:nvPr>
        </p:nvSpPr>
        <p:spPr bwMode="auto">
          <a:xfrm>
            <a:off x="8502884" y="0"/>
            <a:ext cx="385693" cy="862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4"/>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39023838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7/16/20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1982244793"/>
      </p:ext>
    </p:extLst>
  </p:cSld>
  <p:clrMapOvr>
    <a:masterClrMapping/>
  </p:clrMapOvr>
  <p:transition spd="slow"/>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9813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8" imgW="360" imgH="360" progId="">
                  <p:embed/>
                </p:oleObj>
              </mc:Choice>
              <mc:Fallback>
                <p:oleObj name="think-cell Slide" r:id="rId18" imgW="360" imgH="360" progId="">
                  <p:embed/>
                  <p:pic>
                    <p:nvPicPr>
                      <p:cNvPr id="3" name="Object 30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2"/>
            </p:custDataLst>
          </p:nvPr>
        </p:nvGrpSpPr>
        <p:grpSpPr bwMode="auto">
          <a:xfrm flipH="1">
            <a:off x="8089907" y="6300810"/>
            <a:ext cx="869950" cy="420687"/>
            <a:chOff x="0" y="647"/>
            <a:chExt cx="2278" cy="3325"/>
          </a:xfrm>
        </p:grpSpPr>
        <p:sp>
          <p:nvSpPr>
            <p:cNvPr id="5" name="Freeform 28"/>
            <p:cNvSpPr>
              <a:spLocks/>
            </p:cNvSpPr>
            <p:nvPr>
              <p:custDataLst>
                <p:tags r:id="rId15"/>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 xmlns:a14="http://schemas.microsoft.com/office/drawing/2010/main" w="9525">
                  <a:solidFill>
                    <a:schemeClr val="tx1"/>
                  </a:solidFill>
                  <a:round/>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6"/>
              </p:custDataLst>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7" name="SlideLogoText"/>
          <p:cNvSpPr>
            <a:spLocks noChangeArrowheads="1"/>
          </p:cNvSpPr>
          <p:nvPr>
            <p:custDataLst>
              <p:tags r:id="rId3"/>
            </p:custDataLst>
          </p:nvPr>
        </p:nvSpPr>
        <p:spPr bwMode="auto">
          <a:xfrm>
            <a:off x="7108180" y="6479382"/>
            <a:ext cx="1053173" cy="1508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4"/>
            </p:custDataLst>
          </p:nvPr>
        </p:nvSpPr>
        <p:spPr bwMode="auto">
          <a:xfrm>
            <a:off x="119063" y="26989"/>
            <a:ext cx="838371"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5"/>
            </p:custDataLst>
          </p:nvPr>
        </p:nvSpPr>
        <p:spPr bwMode="auto">
          <a:xfrm>
            <a:off x="119063" y="531813"/>
            <a:ext cx="3656012"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6"/>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7"/>
            </p:custDataLst>
          </p:nvPr>
        </p:nvSpPr>
        <p:spPr bwMode="auto">
          <a:xfrm rot="5400000">
            <a:off x="7964276" y="1934377"/>
            <a:ext cx="1854675"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8"/>
            </p:custDataLst>
          </p:nvPr>
        </p:nvSpPr>
        <p:spPr bwMode="auto">
          <a:xfrm rot="5400000">
            <a:off x="8049211" y="3852871"/>
            <a:ext cx="1684757"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9"/>
            </p:custDataLst>
          </p:nvPr>
        </p:nvSpPr>
        <p:spPr bwMode="auto">
          <a:xfrm>
            <a:off x="8248277" y="6447647"/>
            <a:ext cx="38473"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0"/>
            </p:custDataLst>
          </p:nvPr>
        </p:nvSpPr>
        <p:spPr bwMode="auto">
          <a:xfrm>
            <a:off x="8081970" y="36513"/>
            <a:ext cx="657225"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1"/>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2"/>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3"/>
            </p:custDataLst>
          </p:nvPr>
        </p:nvSpPr>
        <p:spPr bwMode="auto">
          <a:xfrm>
            <a:off x="8502884" y="0"/>
            <a:ext cx="385693" cy="862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4"/>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4481846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6100" y="1789282"/>
            <a:ext cx="3808611"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36729" y="1789282"/>
            <a:ext cx="3808611"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16099" y="6229812"/>
            <a:ext cx="2016324" cy="357856"/>
          </a:xfrm>
          <a:prstGeom prst="rect">
            <a:avLst/>
          </a:prstGeom>
        </p:spPr>
        <p:txBody>
          <a:bodyPr/>
          <a:lstStyle/>
          <a:p>
            <a:pPr>
              <a:buClr>
                <a:srgbClr val="44546A"/>
              </a:buClr>
            </a:pPr>
            <a:fld id="{65F742D7-528A-4DD8-A717-B8E851EF4D31}" type="datetimeFigureOut">
              <a:rPr lang="en-US" smtClean="0">
                <a:solidFill>
                  <a:prstClr val="black">
                    <a:tint val="75000"/>
                  </a:prstClr>
                </a:solidFill>
              </a:rPr>
              <a:pPr>
                <a:buClr>
                  <a:srgbClr val="44546A"/>
                </a:buClr>
              </a:pPr>
              <a:t>7/16/2021</a:t>
            </a:fld>
            <a:endParaRPr lang="en-US">
              <a:solidFill>
                <a:prstClr val="black">
                  <a:tint val="75000"/>
                </a:prstClr>
              </a:solidFill>
            </a:endParaRPr>
          </a:p>
        </p:txBody>
      </p:sp>
      <p:sp>
        <p:nvSpPr>
          <p:cNvPr id="6" name="Footer Placeholder 5"/>
          <p:cNvSpPr>
            <a:spLocks noGrp="1"/>
          </p:cNvSpPr>
          <p:nvPr>
            <p:ph type="ftr" sz="quarter" idx="11"/>
          </p:nvPr>
        </p:nvSpPr>
        <p:spPr>
          <a:xfrm>
            <a:off x="2968477" y="6229812"/>
            <a:ext cx="3024485" cy="357856"/>
          </a:xfrm>
          <a:prstGeom prst="rect">
            <a:avLst/>
          </a:prstGeom>
        </p:spPr>
        <p:txBody>
          <a:bodyPr/>
          <a:lstStyle/>
          <a:p>
            <a:pPr>
              <a:buClr>
                <a:srgbClr val="44546A"/>
              </a:buClr>
            </a:pPr>
            <a:endParaRPr lang="en-US">
              <a:solidFill>
                <a:prstClr val="black">
                  <a:tint val="75000"/>
                </a:prstClr>
              </a:solidFill>
            </a:endParaRPr>
          </a:p>
        </p:txBody>
      </p:sp>
      <p:sp>
        <p:nvSpPr>
          <p:cNvPr id="7" name="Slide Number Placeholder 6"/>
          <p:cNvSpPr>
            <a:spLocks noGrp="1"/>
          </p:cNvSpPr>
          <p:nvPr>
            <p:ph type="sldNum" sz="quarter" idx="12"/>
          </p:nvPr>
        </p:nvSpPr>
        <p:spPr>
          <a:xfrm>
            <a:off x="6329015" y="6229812"/>
            <a:ext cx="2016324" cy="357856"/>
          </a:xfrm>
          <a:prstGeom prst="rect">
            <a:avLst/>
          </a:prstGeom>
        </p:spPr>
        <p:txBody>
          <a:bodyPr/>
          <a:lstStyle/>
          <a:p>
            <a:pPr>
              <a:buClr>
                <a:srgbClr val="44546A"/>
              </a:buClr>
            </a:pPr>
            <a:fld id="{B95C6099-4578-40E7-9438-ADDB41AD0703}" type="slidenum">
              <a:rPr lang="en-US" smtClean="0">
                <a:solidFill>
                  <a:prstClr val="black">
                    <a:tint val="75000"/>
                  </a:prstClr>
                </a:solidFill>
              </a:rPr>
              <a:pPr>
                <a:buClr>
                  <a:srgbClr val="44546A"/>
                </a:buClr>
              </a:pPr>
              <a:t>‹#›</a:t>
            </a:fld>
            <a:endParaRPr lang="en-US">
              <a:solidFill>
                <a:prstClr val="black">
                  <a:tint val="75000"/>
                </a:prstClr>
              </a:solidFill>
            </a:endParaRPr>
          </a:p>
        </p:txBody>
      </p:sp>
    </p:spTree>
    <p:extLst>
      <p:ext uri="{BB962C8B-B14F-4D97-AF65-F5344CB8AC3E}">
        <p14:creationId xmlns:p14="http://schemas.microsoft.com/office/powerpoint/2010/main" val="23595994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7266" y="357857"/>
            <a:ext cx="7729240" cy="292388"/>
          </a:xfrm>
        </p:spPr>
        <p:txBody>
          <a:bodyPr/>
          <a:lstStyle/>
          <a:p>
            <a:r>
              <a:rPr lang="en-US"/>
              <a:t>Click to edit Master title style</a:t>
            </a:r>
          </a:p>
        </p:txBody>
      </p:sp>
      <p:sp>
        <p:nvSpPr>
          <p:cNvPr id="3" name="Text Placeholder 2"/>
          <p:cNvSpPr>
            <a:spLocks noGrp="1"/>
          </p:cNvSpPr>
          <p:nvPr>
            <p:ph type="body" idx="1"/>
          </p:nvPr>
        </p:nvSpPr>
        <p:spPr>
          <a:xfrm>
            <a:off x="617266" y="2251623"/>
            <a:ext cx="3791108" cy="203582"/>
          </a:xfrm>
        </p:spPr>
        <p:txBody>
          <a:bodyPr anchor="b"/>
          <a:lstStyle>
            <a:lvl1pPr marL="0" indent="0">
              <a:buNone/>
              <a:defRPr sz="1323" b="1"/>
            </a:lvl1pPr>
            <a:lvl2pPr marL="252005" indent="0">
              <a:buNone/>
              <a:defRPr sz="1103" b="1"/>
            </a:lvl2pPr>
            <a:lvl3pPr marL="504009" indent="0">
              <a:buNone/>
              <a:defRPr sz="992" b="1"/>
            </a:lvl3pPr>
            <a:lvl4pPr marL="756014" indent="0">
              <a:buNone/>
              <a:defRPr sz="882" b="1"/>
            </a:lvl4pPr>
            <a:lvl5pPr marL="1008019" indent="0">
              <a:buNone/>
              <a:defRPr sz="882" b="1"/>
            </a:lvl5pPr>
            <a:lvl6pPr marL="1260024" indent="0">
              <a:buNone/>
              <a:defRPr sz="882" b="1"/>
            </a:lvl6pPr>
            <a:lvl7pPr marL="1512029" indent="0">
              <a:buNone/>
              <a:defRPr sz="882" b="1"/>
            </a:lvl7pPr>
            <a:lvl8pPr marL="1764034" indent="0">
              <a:buNone/>
              <a:defRPr sz="882" b="1"/>
            </a:lvl8pPr>
            <a:lvl9pPr marL="2016038" indent="0">
              <a:buNone/>
              <a:defRPr sz="882" b="1"/>
            </a:lvl9pPr>
          </a:lstStyle>
          <a:p>
            <a:pPr lvl="0"/>
            <a:r>
              <a:rPr lang="en-US"/>
              <a:t>Click to edit Master text styles</a:t>
            </a:r>
          </a:p>
        </p:txBody>
      </p:sp>
      <p:sp>
        <p:nvSpPr>
          <p:cNvPr id="4" name="Content Placeholder 3"/>
          <p:cNvSpPr>
            <a:spLocks noGrp="1"/>
          </p:cNvSpPr>
          <p:nvPr>
            <p:ph sz="half" idx="2"/>
          </p:nvPr>
        </p:nvSpPr>
        <p:spPr>
          <a:xfrm>
            <a:off x="617266" y="2455207"/>
            <a:ext cx="3791108"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36728" y="2251623"/>
            <a:ext cx="3809778" cy="203582"/>
          </a:xfrm>
        </p:spPr>
        <p:txBody>
          <a:bodyPr anchor="b"/>
          <a:lstStyle>
            <a:lvl1pPr marL="0" indent="0">
              <a:buNone/>
              <a:defRPr sz="1323" b="1"/>
            </a:lvl1pPr>
            <a:lvl2pPr marL="252005" indent="0">
              <a:buNone/>
              <a:defRPr sz="1103" b="1"/>
            </a:lvl2pPr>
            <a:lvl3pPr marL="504009" indent="0">
              <a:buNone/>
              <a:defRPr sz="992" b="1"/>
            </a:lvl3pPr>
            <a:lvl4pPr marL="756014" indent="0">
              <a:buNone/>
              <a:defRPr sz="882" b="1"/>
            </a:lvl4pPr>
            <a:lvl5pPr marL="1008019" indent="0">
              <a:buNone/>
              <a:defRPr sz="882" b="1"/>
            </a:lvl5pPr>
            <a:lvl6pPr marL="1260024" indent="0">
              <a:buNone/>
              <a:defRPr sz="882" b="1"/>
            </a:lvl6pPr>
            <a:lvl7pPr marL="1512029" indent="0">
              <a:buNone/>
              <a:defRPr sz="882" b="1"/>
            </a:lvl7pPr>
            <a:lvl8pPr marL="1764034" indent="0">
              <a:buNone/>
              <a:defRPr sz="882" b="1"/>
            </a:lvl8pPr>
            <a:lvl9pPr marL="2016038" indent="0">
              <a:buNone/>
              <a:defRPr sz="882" b="1"/>
            </a:lvl9pPr>
          </a:lstStyle>
          <a:p>
            <a:pPr lvl="0"/>
            <a:r>
              <a:rPr lang="en-US"/>
              <a:t>Click to edit Master text styles</a:t>
            </a:r>
          </a:p>
        </p:txBody>
      </p:sp>
      <p:sp>
        <p:nvSpPr>
          <p:cNvPr id="6" name="Content Placeholder 5"/>
          <p:cNvSpPr>
            <a:spLocks noGrp="1"/>
          </p:cNvSpPr>
          <p:nvPr>
            <p:ph sz="quarter" idx="4"/>
          </p:nvPr>
        </p:nvSpPr>
        <p:spPr>
          <a:xfrm>
            <a:off x="4536728" y="2455207"/>
            <a:ext cx="3809778"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16099" y="6229812"/>
            <a:ext cx="2016324" cy="357856"/>
          </a:xfrm>
          <a:prstGeom prst="rect">
            <a:avLst/>
          </a:prstGeom>
        </p:spPr>
        <p:txBody>
          <a:bodyPr/>
          <a:lstStyle/>
          <a:p>
            <a:pPr>
              <a:buClr>
                <a:srgbClr val="44546A"/>
              </a:buClr>
            </a:pPr>
            <a:fld id="{65F742D7-528A-4DD8-A717-B8E851EF4D31}" type="datetimeFigureOut">
              <a:rPr lang="en-US" smtClean="0">
                <a:solidFill>
                  <a:prstClr val="black">
                    <a:tint val="75000"/>
                  </a:prstClr>
                </a:solidFill>
              </a:rPr>
              <a:pPr>
                <a:buClr>
                  <a:srgbClr val="44546A"/>
                </a:buClr>
              </a:pPr>
              <a:t>7/16/2021</a:t>
            </a:fld>
            <a:endParaRPr lang="en-US">
              <a:solidFill>
                <a:prstClr val="black">
                  <a:tint val="75000"/>
                </a:prstClr>
              </a:solidFill>
            </a:endParaRPr>
          </a:p>
        </p:txBody>
      </p:sp>
      <p:sp>
        <p:nvSpPr>
          <p:cNvPr id="8" name="Footer Placeholder 7"/>
          <p:cNvSpPr>
            <a:spLocks noGrp="1"/>
          </p:cNvSpPr>
          <p:nvPr>
            <p:ph type="ftr" sz="quarter" idx="11"/>
          </p:nvPr>
        </p:nvSpPr>
        <p:spPr>
          <a:xfrm>
            <a:off x="2968477" y="6229812"/>
            <a:ext cx="3024485" cy="357856"/>
          </a:xfrm>
          <a:prstGeom prst="rect">
            <a:avLst/>
          </a:prstGeom>
        </p:spPr>
        <p:txBody>
          <a:bodyPr/>
          <a:lstStyle/>
          <a:p>
            <a:pPr>
              <a:buClr>
                <a:srgbClr val="44546A"/>
              </a:buClr>
            </a:pPr>
            <a:endParaRPr lang="en-US">
              <a:solidFill>
                <a:prstClr val="black">
                  <a:tint val="75000"/>
                </a:prstClr>
              </a:solidFill>
            </a:endParaRPr>
          </a:p>
        </p:txBody>
      </p:sp>
      <p:sp>
        <p:nvSpPr>
          <p:cNvPr id="9" name="Slide Number Placeholder 8"/>
          <p:cNvSpPr>
            <a:spLocks noGrp="1"/>
          </p:cNvSpPr>
          <p:nvPr>
            <p:ph type="sldNum" sz="quarter" idx="12"/>
          </p:nvPr>
        </p:nvSpPr>
        <p:spPr>
          <a:xfrm>
            <a:off x="6329015" y="6229812"/>
            <a:ext cx="2016324" cy="357856"/>
          </a:xfrm>
          <a:prstGeom prst="rect">
            <a:avLst/>
          </a:prstGeom>
        </p:spPr>
        <p:txBody>
          <a:bodyPr/>
          <a:lstStyle/>
          <a:p>
            <a:pPr>
              <a:buClr>
                <a:srgbClr val="44546A"/>
              </a:buClr>
            </a:pPr>
            <a:fld id="{B95C6099-4578-40E7-9438-ADDB41AD0703}" type="slidenum">
              <a:rPr lang="en-US" smtClean="0">
                <a:solidFill>
                  <a:prstClr val="black">
                    <a:tint val="75000"/>
                  </a:prstClr>
                </a:solidFill>
              </a:rPr>
              <a:pPr>
                <a:buClr>
                  <a:srgbClr val="44546A"/>
                </a:buClr>
              </a:pPr>
              <a:t>‹#›</a:t>
            </a:fld>
            <a:endParaRPr lang="en-US">
              <a:solidFill>
                <a:prstClr val="black">
                  <a:tint val="75000"/>
                </a:prstClr>
              </a:solidFill>
            </a:endParaRPr>
          </a:p>
        </p:txBody>
      </p:sp>
    </p:spTree>
    <p:extLst>
      <p:ext uri="{BB962C8B-B14F-4D97-AF65-F5344CB8AC3E}">
        <p14:creationId xmlns:p14="http://schemas.microsoft.com/office/powerpoint/2010/main" val="7904998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18063759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79156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45513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8056" y="1090684"/>
            <a:ext cx="3959384" cy="627026"/>
          </a:xfrm>
        </p:spPr>
        <p:txBody>
          <a:bodyPr anchor="b"/>
          <a:lstStyle>
            <a:lvl1pPr marL="0" indent="0">
              <a:buNone/>
              <a:defRPr sz="2350" b="1"/>
            </a:lvl1pPr>
            <a:lvl2pPr marL="448310" indent="0">
              <a:buNone/>
              <a:defRPr sz="1960" b="1"/>
            </a:lvl2pPr>
            <a:lvl3pPr marL="895985" indent="0">
              <a:buNone/>
              <a:defRPr sz="1765" b="1"/>
            </a:lvl3pPr>
            <a:lvl4pPr marL="1344295" indent="0">
              <a:buNone/>
              <a:defRPr sz="1570" b="1"/>
            </a:lvl4pPr>
            <a:lvl5pPr marL="1791970" indent="0">
              <a:buNone/>
              <a:defRPr sz="1570" b="1"/>
            </a:lvl5pPr>
            <a:lvl6pPr marL="2240280" indent="0">
              <a:buNone/>
              <a:defRPr sz="1570" b="1"/>
            </a:lvl6pPr>
            <a:lvl7pPr marL="2688590" indent="0">
              <a:buNone/>
              <a:defRPr sz="1570" b="1"/>
            </a:lvl7pPr>
            <a:lvl8pPr marL="3136265" indent="0">
              <a:buNone/>
              <a:defRPr sz="1570" b="1"/>
            </a:lvl8pPr>
            <a:lvl9pPr marL="3584575" indent="0">
              <a:buNone/>
              <a:defRPr sz="1570" b="1"/>
            </a:lvl9pPr>
          </a:lstStyle>
          <a:p>
            <a:pPr lvl="0"/>
            <a:r>
              <a:rPr lang="en-US" dirty="0"/>
              <a:t>Click to edit Master text styles</a:t>
            </a:r>
          </a:p>
        </p:txBody>
      </p:sp>
      <p:sp>
        <p:nvSpPr>
          <p:cNvPr id="4" name="Content Placeholder 3"/>
          <p:cNvSpPr>
            <a:spLocks noGrp="1"/>
          </p:cNvSpPr>
          <p:nvPr>
            <p:ph sz="half" idx="2"/>
          </p:nvPr>
        </p:nvSpPr>
        <p:spPr>
          <a:xfrm>
            <a:off x="448056" y="1877967"/>
            <a:ext cx="3959384" cy="3872628"/>
          </a:xfrm>
        </p:spPr>
        <p:txBody>
          <a:bodyPr/>
          <a:lstStyle>
            <a:lvl1pPr>
              <a:defRPr sz="2350"/>
            </a:lvl1pPr>
            <a:lvl2pPr>
              <a:defRPr sz="1960"/>
            </a:lvl2pPr>
            <a:lvl3pPr>
              <a:defRPr sz="1765"/>
            </a:lvl3pPr>
            <a:lvl4pPr>
              <a:defRPr sz="1570"/>
            </a:lvl4pPr>
            <a:lvl5pPr>
              <a:defRPr sz="1570"/>
            </a:lvl5pPr>
            <a:lvl6pPr>
              <a:defRPr sz="1570"/>
            </a:lvl6pPr>
            <a:lvl7pPr>
              <a:defRPr sz="1570"/>
            </a:lvl7pPr>
            <a:lvl8pPr>
              <a:defRPr sz="1570"/>
            </a:lvl8pPr>
            <a:lvl9pPr>
              <a:defRPr sz="15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125" y="1090684"/>
            <a:ext cx="3960940" cy="627026"/>
          </a:xfrm>
        </p:spPr>
        <p:txBody>
          <a:bodyPr anchor="b"/>
          <a:lstStyle>
            <a:lvl1pPr marL="0" indent="0">
              <a:buNone/>
              <a:defRPr sz="2350" b="1"/>
            </a:lvl1pPr>
            <a:lvl2pPr marL="448310" indent="0">
              <a:buNone/>
              <a:defRPr sz="1960" b="1"/>
            </a:lvl2pPr>
            <a:lvl3pPr marL="895985" indent="0">
              <a:buNone/>
              <a:defRPr sz="1765" b="1"/>
            </a:lvl3pPr>
            <a:lvl4pPr marL="1344295" indent="0">
              <a:buNone/>
              <a:defRPr sz="1570" b="1"/>
            </a:lvl4pPr>
            <a:lvl5pPr marL="1791970" indent="0">
              <a:buNone/>
              <a:defRPr sz="1570" b="1"/>
            </a:lvl5pPr>
            <a:lvl6pPr marL="2240280" indent="0">
              <a:buNone/>
              <a:defRPr sz="1570" b="1"/>
            </a:lvl6pPr>
            <a:lvl7pPr marL="2688590" indent="0">
              <a:buNone/>
              <a:defRPr sz="1570" b="1"/>
            </a:lvl7pPr>
            <a:lvl8pPr marL="3136265" indent="0">
              <a:buNone/>
              <a:defRPr sz="1570" b="1"/>
            </a:lvl8pPr>
            <a:lvl9pPr marL="3584575" indent="0">
              <a:buNone/>
              <a:defRPr sz="1570" b="1"/>
            </a:lvl9pPr>
          </a:lstStyle>
          <a:p>
            <a:pPr lvl="0"/>
            <a:r>
              <a:rPr lang="en-US"/>
              <a:t>Click to edit Master text styles</a:t>
            </a:r>
          </a:p>
        </p:txBody>
      </p:sp>
      <p:sp>
        <p:nvSpPr>
          <p:cNvPr id="6" name="Content Placeholder 5"/>
          <p:cNvSpPr>
            <a:spLocks noGrp="1"/>
          </p:cNvSpPr>
          <p:nvPr>
            <p:ph sz="quarter" idx="4"/>
          </p:nvPr>
        </p:nvSpPr>
        <p:spPr>
          <a:xfrm>
            <a:off x="4552125" y="1877967"/>
            <a:ext cx="3960940" cy="3872628"/>
          </a:xfrm>
        </p:spPr>
        <p:txBody>
          <a:bodyPr/>
          <a:lstStyle>
            <a:lvl1pPr>
              <a:defRPr sz="2350"/>
            </a:lvl1pPr>
            <a:lvl2pPr>
              <a:defRPr sz="1960"/>
            </a:lvl2pPr>
            <a:lvl3pPr>
              <a:defRPr sz="1765"/>
            </a:lvl3pPr>
            <a:lvl4pPr>
              <a:defRPr sz="1570"/>
            </a:lvl4pPr>
            <a:lvl5pPr>
              <a:defRPr sz="1570"/>
            </a:lvl5pPr>
            <a:lvl6pPr>
              <a:defRPr sz="1570"/>
            </a:lvl6pPr>
            <a:lvl7pPr>
              <a:defRPr sz="1570"/>
            </a:lvl7pPr>
            <a:lvl8pPr>
              <a:defRPr sz="1570"/>
            </a:lvl8pPr>
            <a:lvl9pPr>
              <a:defRPr sz="15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96112" y="6229812"/>
            <a:ext cx="1642872" cy="357856"/>
          </a:xfrm>
        </p:spPr>
        <p:txBody>
          <a:bodyPr/>
          <a:lstStyle/>
          <a:p>
            <a:fld id="{1D8BD707-D9CF-40AE-B4C6-C98DA3205C09}" type="datetimeFigureOut">
              <a:rPr lang="en-US" smtClean="0"/>
              <a:t>7/16/2021</a:t>
            </a:fld>
            <a:endParaRPr lang="en-US"/>
          </a:p>
        </p:txBody>
      </p:sp>
      <p:sp>
        <p:nvSpPr>
          <p:cNvPr id="8" name="Footer Placeholder 7"/>
          <p:cNvSpPr>
            <a:spLocks noGrp="1"/>
          </p:cNvSpPr>
          <p:nvPr>
            <p:ph type="ftr" sz="quarter" idx="11"/>
          </p:nvPr>
        </p:nvSpPr>
        <p:spPr>
          <a:xfrm>
            <a:off x="3061716" y="6229812"/>
            <a:ext cx="2837688" cy="357856"/>
          </a:xfrm>
        </p:spPr>
        <p:txBody>
          <a:bodyPr/>
          <a:lstStyle/>
          <a:p>
            <a:endParaRPr lang="en-US"/>
          </a:p>
        </p:txBody>
      </p:sp>
      <p:sp>
        <p:nvSpPr>
          <p:cNvPr id="9" name="Slide Number Placeholder 8"/>
          <p:cNvSpPr>
            <a:spLocks noGrp="1"/>
          </p:cNvSpPr>
          <p:nvPr>
            <p:ph type="sldNum" sz="quarter" idx="12"/>
          </p:nvPr>
        </p:nvSpPr>
        <p:spPr>
          <a:xfrm>
            <a:off x="6422136" y="6229812"/>
            <a:ext cx="1642872" cy="357856"/>
          </a:xfrm>
        </p:spPr>
        <p:txBody>
          <a:bodyPr/>
          <a:lstStyle/>
          <a:p>
            <a:fld id="{B6F15528-21DE-4FAA-801E-634DDDAF4B2B}" type="slidenum">
              <a:rPr lang="en-US" smtClean="0"/>
              <a:t>‹#›</a:t>
            </a:fld>
            <a:endParaRPr lang="en-US"/>
          </a:p>
        </p:txBody>
      </p:sp>
      <p:pic>
        <p:nvPicPr>
          <p:cNvPr id="10" name="Picture 9"/>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63712" y="6049328"/>
            <a:ext cx="597407" cy="672148"/>
          </a:xfrm>
          <a:prstGeom prst="rect">
            <a:avLst/>
          </a:prstGeom>
          <a:noFill/>
          <a:ln>
            <a:noFill/>
          </a:ln>
        </p:spPr>
      </p:pic>
    </p:spTree>
    <p:extLst>
      <p:ext uri="{BB962C8B-B14F-4D97-AF65-F5344CB8AC3E}">
        <p14:creationId xmlns:p14="http://schemas.microsoft.com/office/powerpoint/2010/main" val="25318647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86952649"/>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69493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45447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4301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oleObject" Target="../embeddings/oleObject4.bin"/><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tags" Target="../tags/tag20.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image" Target="../media/image8.png"/><Relationship Id="rId10" Type="http://schemas.openxmlformats.org/officeDocument/2006/relationships/slideLayout" Target="../slideLayouts/slideLayout16.xml"/><Relationship Id="rId19"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2.pn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image" Target="../media/image1.emf"/><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oleObject" Target="../embeddings/oleObject9.bin"/><Relationship Id="rId5" Type="http://schemas.openxmlformats.org/officeDocument/2006/relationships/slideLayout" Target="../slideLayouts/slideLayout51.xml"/><Relationship Id="rId15" Type="http://schemas.openxmlformats.org/officeDocument/2006/relationships/image" Target="../media/image13.png"/><Relationship Id="rId10" Type="http://schemas.openxmlformats.org/officeDocument/2006/relationships/tags" Target="../tags/tag40.xml"/><Relationship Id="rId4" Type="http://schemas.openxmlformats.org/officeDocument/2006/relationships/slideLayout" Target="../slideLayouts/slideLayout50.xml"/><Relationship Id="rId9" Type="http://schemas.openxmlformats.org/officeDocument/2006/relationships/theme" Target="../theme/theme4.xml"/><Relationship Id="rId14"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oleObject" Target="../embeddings/oleObject13.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ags" Target="../tags/tag59.xml"/><Relationship Id="rId11" Type="http://schemas.openxmlformats.org/officeDocument/2006/relationships/image" Target="../media/image14.png"/><Relationship Id="rId5" Type="http://schemas.openxmlformats.org/officeDocument/2006/relationships/theme" Target="../theme/theme5.xml"/><Relationship Id="rId10" Type="http://schemas.openxmlformats.org/officeDocument/2006/relationships/image" Target="../media/image8.png"/><Relationship Id="rId4" Type="http://schemas.openxmlformats.org/officeDocument/2006/relationships/slideLayout" Target="../slideLayouts/slideLayout58.xml"/><Relationship Id="rId9"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42541095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2" name="Objec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6F0710"/>
          </a:solidFill>
          <a:ln>
            <a:noFill/>
          </a:ln>
          <a:effectLst/>
        </p:spPr>
        <p:txBody>
          <a:bodyPr wrap="none" anchor="ctr"/>
          <a:lstStyle/>
          <a:p>
            <a:endParaRPr lang="en-US" dirty="0">
              <a:solidFill>
                <a:prstClr val="black"/>
              </a:solidFill>
              <a:latin typeface="Arial"/>
            </a:endParaRPr>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rotWithShape="1">
          <a:blip r:embed="rId11"/>
          <a:srcRect l="-13685" t="23983" r="13685" b="24747"/>
          <a:stretch/>
        </p:blipFill>
        <p:spPr>
          <a:xfrm>
            <a:off x="7890418" y="6307716"/>
            <a:ext cx="1071020" cy="413760"/>
          </a:xfrm>
          <a:prstGeom prst="rect">
            <a:avLst/>
          </a:prstGeom>
        </p:spPr>
      </p:pic>
      <p:sp>
        <p:nvSpPr>
          <p:cNvPr id="23" name="SlideBottomBa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20" name="Slide Numbe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pic>
        <p:nvPicPr>
          <p:cNvPr id="22" name="Picture 11" descr="http://www.alma2015.org/sites/all/themes/alma/images/header-logo.png"/>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47857"/>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6269819"/>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89" r:id="rId3"/>
    <p:sldLayoutId id="2147483690" r:id="rId4"/>
    <p:sldLayoutId id="2147483694" r:id="rId5"/>
    <p:sldLayoutId id="2147483755" r:id="rId6"/>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8535952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1" imgW="360" imgH="360" progId="">
                  <p:embed/>
                </p:oleObj>
              </mc:Choice>
              <mc:Fallback>
                <p:oleObj name="think-cell Slide" r:id="rId21" imgW="360" imgH="360" progId="">
                  <p:embed/>
                  <p:pic>
                    <p:nvPicPr>
                      <p:cNvPr id="2" name="Object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11" descr="http://www.alma2015.org/sites/all/themes/alma/images/header-logo.png"/>
          <p:cNvPicPr>
            <a:picLocks noChangeAspect="1" noChangeArrowheads="1"/>
          </p:cNvPicPr>
          <p:nvPr userDrawn="1"/>
        </p:nvPicPr>
        <p:blipFill rotWithShape="1">
          <a:blip r:embed="rId23"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30670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6100" y="357861"/>
            <a:ext cx="7729240" cy="1299174"/>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16100" y="1789282"/>
            <a:ext cx="7729240" cy="426471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16100" y="6229821"/>
            <a:ext cx="2016324" cy="357856"/>
          </a:xfrm>
          <a:prstGeom prst="rect">
            <a:avLst/>
          </a:prstGeom>
        </p:spPr>
        <p:txBody>
          <a:bodyPr vert="horz" lIns="91440" tIns="45720" rIns="91440" bIns="45720" rtlCol="0" anchor="ctr"/>
          <a:lstStyle>
            <a:lvl1pPr algn="l">
              <a:defRPr sz="882">
                <a:solidFill>
                  <a:schemeClr val="tx1">
                    <a:tint val="75000"/>
                  </a:schemeClr>
                </a:solidFill>
              </a:defRPr>
            </a:lvl1pPr>
          </a:lstStyle>
          <a:p>
            <a:fld id="{9EBC41A8-00F2-4B9E-8EC3-126004A1BDC7}" type="datetimeFigureOut">
              <a:rPr lang="en-GB" smtClean="0"/>
              <a:t>16/07/2021</a:t>
            </a:fld>
            <a:endParaRPr lang="en-GB"/>
          </a:p>
        </p:txBody>
      </p:sp>
      <p:sp>
        <p:nvSpPr>
          <p:cNvPr id="5" name="Footer Placeholder 4"/>
          <p:cNvSpPr>
            <a:spLocks noGrp="1"/>
          </p:cNvSpPr>
          <p:nvPr>
            <p:ph type="ftr" sz="quarter" idx="3"/>
          </p:nvPr>
        </p:nvSpPr>
        <p:spPr>
          <a:xfrm>
            <a:off x="2968477" y="6229821"/>
            <a:ext cx="3024485" cy="357856"/>
          </a:xfrm>
          <a:prstGeom prst="rect">
            <a:avLst/>
          </a:prstGeom>
        </p:spPr>
        <p:txBody>
          <a:bodyPr vert="horz" lIns="91440" tIns="45720" rIns="91440" bIns="45720" rtlCol="0" anchor="ctr"/>
          <a:lstStyle>
            <a:lvl1pPr algn="ctr">
              <a:defRPr sz="882">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329016" y="6229821"/>
            <a:ext cx="2016324" cy="357856"/>
          </a:xfrm>
          <a:prstGeom prst="rect">
            <a:avLst/>
          </a:prstGeom>
        </p:spPr>
        <p:txBody>
          <a:bodyPr vert="horz" lIns="91440" tIns="45720" rIns="91440" bIns="45720" rtlCol="0" anchor="ctr"/>
          <a:lstStyle>
            <a:lvl1pPr algn="r">
              <a:defRPr sz="882">
                <a:solidFill>
                  <a:schemeClr val="tx1">
                    <a:tint val="75000"/>
                  </a:schemeClr>
                </a:solidFill>
              </a:defRPr>
            </a:lvl1pPr>
          </a:lstStyle>
          <a:p>
            <a:fld id="{CDD7DD23-A34B-405D-8F36-5709C0D1BF0C}" type="slidenum">
              <a:rPr lang="en-GB" smtClean="0"/>
              <a:t>‹#›</a:t>
            </a:fld>
            <a:endParaRPr lang="en-GB"/>
          </a:p>
        </p:txBody>
      </p:sp>
    </p:spTree>
    <p:extLst>
      <p:ext uri="{BB962C8B-B14F-4D97-AF65-F5344CB8AC3E}">
        <p14:creationId xmlns:p14="http://schemas.microsoft.com/office/powerpoint/2010/main" val="2527488169"/>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66" r:id="rId20"/>
    <p:sldLayoutId id="2147483767" r:id="rId21"/>
    <p:sldLayoutId id="2147483768" r:id="rId22"/>
  </p:sldLayoutIdLst>
  <p:txStyles>
    <p:titleStyle>
      <a:lvl1pPr algn="l" defTabSz="672067"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17" indent="-168017" algn="l" defTabSz="672067"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50" indent="-168017" algn="l" defTabSz="672067"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083" indent="-168017" algn="l" defTabSz="672067"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18"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52"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185"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19"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252"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285"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67" rtl="0" eaLnBrk="1" latinLnBrk="0" hangingPunct="1">
        <a:defRPr sz="1323" kern="1200">
          <a:solidFill>
            <a:schemeClr val="tx1"/>
          </a:solidFill>
          <a:latin typeface="+mn-lt"/>
          <a:ea typeface="+mn-ea"/>
          <a:cs typeface="+mn-cs"/>
        </a:defRPr>
      </a:lvl1pPr>
      <a:lvl2pPr marL="336034" algn="l" defTabSz="672067" rtl="0" eaLnBrk="1" latinLnBrk="0" hangingPunct="1">
        <a:defRPr sz="1323" kern="1200">
          <a:solidFill>
            <a:schemeClr val="tx1"/>
          </a:solidFill>
          <a:latin typeface="+mn-lt"/>
          <a:ea typeface="+mn-ea"/>
          <a:cs typeface="+mn-cs"/>
        </a:defRPr>
      </a:lvl2pPr>
      <a:lvl3pPr marL="672067" algn="l" defTabSz="672067" rtl="0" eaLnBrk="1" latinLnBrk="0" hangingPunct="1">
        <a:defRPr sz="1323" kern="1200">
          <a:solidFill>
            <a:schemeClr val="tx1"/>
          </a:solidFill>
          <a:latin typeface="+mn-lt"/>
          <a:ea typeface="+mn-ea"/>
          <a:cs typeface="+mn-cs"/>
        </a:defRPr>
      </a:lvl3pPr>
      <a:lvl4pPr marL="1008102" algn="l" defTabSz="672067" rtl="0" eaLnBrk="1" latinLnBrk="0" hangingPunct="1">
        <a:defRPr sz="1323" kern="1200">
          <a:solidFill>
            <a:schemeClr val="tx1"/>
          </a:solidFill>
          <a:latin typeface="+mn-lt"/>
          <a:ea typeface="+mn-ea"/>
          <a:cs typeface="+mn-cs"/>
        </a:defRPr>
      </a:lvl4pPr>
      <a:lvl5pPr marL="1344135" algn="l" defTabSz="672067" rtl="0" eaLnBrk="1" latinLnBrk="0" hangingPunct="1">
        <a:defRPr sz="1323" kern="1200">
          <a:solidFill>
            <a:schemeClr val="tx1"/>
          </a:solidFill>
          <a:latin typeface="+mn-lt"/>
          <a:ea typeface="+mn-ea"/>
          <a:cs typeface="+mn-cs"/>
        </a:defRPr>
      </a:lvl5pPr>
      <a:lvl6pPr marL="1680168" algn="l" defTabSz="672067" rtl="0" eaLnBrk="1" latinLnBrk="0" hangingPunct="1">
        <a:defRPr sz="1323" kern="1200">
          <a:solidFill>
            <a:schemeClr val="tx1"/>
          </a:solidFill>
          <a:latin typeface="+mn-lt"/>
          <a:ea typeface="+mn-ea"/>
          <a:cs typeface="+mn-cs"/>
        </a:defRPr>
      </a:lvl6pPr>
      <a:lvl7pPr marL="2016201" algn="l" defTabSz="672067" rtl="0" eaLnBrk="1" latinLnBrk="0" hangingPunct="1">
        <a:defRPr sz="1323" kern="1200">
          <a:solidFill>
            <a:schemeClr val="tx1"/>
          </a:solidFill>
          <a:latin typeface="+mn-lt"/>
          <a:ea typeface="+mn-ea"/>
          <a:cs typeface="+mn-cs"/>
        </a:defRPr>
      </a:lvl7pPr>
      <a:lvl8pPr marL="2352235" algn="l" defTabSz="672067" rtl="0" eaLnBrk="1" latinLnBrk="0" hangingPunct="1">
        <a:defRPr sz="1323" kern="1200">
          <a:solidFill>
            <a:schemeClr val="tx1"/>
          </a:solidFill>
          <a:latin typeface="+mn-lt"/>
          <a:ea typeface="+mn-ea"/>
          <a:cs typeface="+mn-cs"/>
        </a:defRPr>
      </a:lvl8pPr>
      <a:lvl9pPr marL="2688269" algn="l" defTabSz="672067" rtl="0" eaLnBrk="1" latinLnBrk="0" hangingPunct="1">
        <a:defRPr sz="132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474520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6F0710"/>
          </a:solidFill>
          <a:ln>
            <a:noFill/>
          </a:ln>
          <a:effectLst/>
        </p:spPr>
        <p:txBody>
          <a:bodyPr wrap="none" anchor="ctr"/>
          <a:lstStyle/>
          <a:p>
            <a:endParaRPr lang="en-US" dirty="0">
              <a:solidFill>
                <a:prstClr val="black"/>
              </a:solidFill>
              <a:latin typeface="Arial"/>
            </a:endParaRPr>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rotWithShape="1">
          <a:blip r:embed="rId13" cstate="screen">
            <a:extLst>
              <a:ext uri="{28A0092B-C50C-407E-A947-70E740481C1C}">
                <a14:useLocalDpi xmlns:a14="http://schemas.microsoft.com/office/drawing/2010/main"/>
              </a:ext>
            </a:extLst>
          </a:blip>
          <a:srcRect l="-15855"/>
          <a:stretch/>
        </p:blipFill>
        <p:spPr>
          <a:xfrm>
            <a:off x="7890418" y="6307716"/>
            <a:ext cx="1071020" cy="413760"/>
          </a:xfrm>
          <a:prstGeom prst="rect">
            <a:avLst/>
          </a:prstGeom>
        </p:spPr>
      </p:pic>
      <p:sp>
        <p:nvSpPr>
          <p:cNvPr id="23" name="SlideBottomBa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20" name="Slide Numbe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pic>
        <p:nvPicPr>
          <p:cNvPr id="22" name="Picture 11" descr="http://www.alma2015.org/sites/all/themes/alma/images/header-logo.png"/>
          <p:cNvPicPr>
            <a:picLocks noChangeAspect="1" noChangeArrowheads="1"/>
          </p:cNvPicPr>
          <p:nvPr userDrawn="1"/>
        </p:nvPicPr>
        <p:blipFill rotWithShape="1">
          <a:blip r:embed="rId14"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A5B94EAF-4C8C-400C-B8BB-2CC1E6833109}"/>
              </a:ext>
            </a:extLst>
          </p:cNvPr>
          <p:cNvPicPr>
            <a:picLocks noChangeAspect="1"/>
          </p:cNvPicPr>
          <p:nvPr userDrawn="1"/>
        </p:nvPicPr>
        <p:blipFill>
          <a:blip r:embed="rId15"/>
          <a:stretch>
            <a:fillRect/>
          </a:stretch>
        </p:blipFill>
        <p:spPr>
          <a:xfrm>
            <a:off x="7466820" y="46432"/>
            <a:ext cx="782995" cy="731602"/>
          </a:xfrm>
          <a:prstGeom prst="rect">
            <a:avLst/>
          </a:prstGeom>
        </p:spPr>
      </p:pic>
    </p:spTree>
    <p:extLst>
      <p:ext uri="{BB962C8B-B14F-4D97-AF65-F5344CB8AC3E}">
        <p14:creationId xmlns:p14="http://schemas.microsoft.com/office/powerpoint/2010/main" val="2926784803"/>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15452612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2"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6F0710"/>
          </a:solidFill>
          <a:ln>
            <a:noFill/>
          </a:ln>
          <a:effectLst/>
        </p:spPr>
        <p:txBody>
          <a:bodyPr wrap="none" anchor="ctr"/>
          <a:lstStyle/>
          <a:p>
            <a:endParaRPr lang="en-US" dirty="0">
              <a:solidFill>
                <a:prstClr val="black"/>
              </a:solidFill>
              <a:latin typeface="Arial"/>
            </a:endParaRPr>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rotWithShape="1">
          <a:blip r:embed="rId9" cstate="screen">
            <a:extLst>
              <a:ext uri="{28A0092B-C50C-407E-A947-70E740481C1C}">
                <a14:useLocalDpi xmlns:a14="http://schemas.microsoft.com/office/drawing/2010/main"/>
              </a:ext>
            </a:extLst>
          </a:blip>
          <a:srcRect l="-15855"/>
          <a:stretch/>
        </p:blipFill>
        <p:spPr>
          <a:xfrm>
            <a:off x="7890418" y="6307716"/>
            <a:ext cx="1071020" cy="413760"/>
          </a:xfrm>
          <a:prstGeom prst="rect">
            <a:avLst/>
          </a:prstGeom>
        </p:spPr>
      </p:pic>
      <p:sp>
        <p:nvSpPr>
          <p:cNvPr id="23" name="SlideBottomBa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20" name="Slide Numbe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pic>
        <p:nvPicPr>
          <p:cNvPr id="22" name="Picture 11" descr="http://www.alma2015.org/sites/all/themes/alma/images/header-logo.png"/>
          <p:cNvPicPr>
            <a:picLocks noChangeAspect="1" noChangeArrowheads="1"/>
          </p:cNvPicPr>
          <p:nvPr userDrawn="1"/>
        </p:nvPicPr>
        <p:blipFill rotWithShape="1">
          <a:blip r:embed="rId10"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Image result for tanzania coat of arms">
            <a:extLst>
              <a:ext uri="{FF2B5EF4-FFF2-40B4-BE49-F238E27FC236}">
                <a16:creationId xmlns:a16="http://schemas.microsoft.com/office/drawing/2014/main" id="{78172510-AF68-41E0-9B80-D1F0043AFA07}"/>
              </a:ext>
            </a:extLst>
          </p:cNvPr>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599855" y="97631"/>
            <a:ext cx="581125" cy="583424"/>
          </a:xfrm>
          <a:prstGeom prst="rect">
            <a:avLst/>
          </a:prstGeom>
          <a:noFill/>
          <a:ln>
            <a:noFill/>
          </a:ln>
        </p:spPr>
      </p:pic>
    </p:spTree>
    <p:extLst>
      <p:ext uri="{BB962C8B-B14F-4D97-AF65-F5344CB8AC3E}">
        <p14:creationId xmlns:p14="http://schemas.microsoft.com/office/powerpoint/2010/main" val="1999403007"/>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jpg"/><Relationship Id="rId7"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openxmlformats.org/officeDocument/2006/relationships/image" Target="../media/image19.jpeg"/><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jpeg"/><Relationship Id="rId9" Type="http://schemas.openxmlformats.org/officeDocument/2006/relationships/image" Target="../media/image22.jpeg"/></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4.pn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3.png"/><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8" Type="http://schemas.openxmlformats.org/officeDocument/2006/relationships/image" Target="../media/image35.png"/><Relationship Id="rId13" Type="http://schemas.microsoft.com/office/2007/relationships/hdphoto" Target="../media/hdphoto3.wdp"/><Relationship Id="rId18" Type="http://schemas.openxmlformats.org/officeDocument/2006/relationships/image" Target="../media/image43.png"/><Relationship Id="rId3" Type="http://schemas.openxmlformats.org/officeDocument/2006/relationships/diagramLayout" Target="../diagrams/layout1.xml"/><Relationship Id="rId7" Type="http://schemas.openxmlformats.org/officeDocument/2006/relationships/image" Target="../media/image34.png"/><Relationship Id="rId12" Type="http://schemas.openxmlformats.org/officeDocument/2006/relationships/image" Target="../media/image38.png"/><Relationship Id="rId17" Type="http://schemas.openxmlformats.org/officeDocument/2006/relationships/image" Target="../media/image42.png"/><Relationship Id="rId2" Type="http://schemas.openxmlformats.org/officeDocument/2006/relationships/diagramData" Target="../diagrams/data1.xml"/><Relationship Id="rId16" Type="http://schemas.openxmlformats.org/officeDocument/2006/relationships/image" Target="../media/image41.png"/><Relationship Id="rId20" Type="http://schemas.openxmlformats.org/officeDocument/2006/relationships/image" Target="../media/image45.png"/><Relationship Id="rId1" Type="http://schemas.openxmlformats.org/officeDocument/2006/relationships/slideLayout" Target="../slideLayouts/slideLayout1.xml"/><Relationship Id="rId6" Type="http://schemas.microsoft.com/office/2007/relationships/diagramDrawing" Target="../diagrams/drawing1.xml"/><Relationship Id="rId11" Type="http://schemas.openxmlformats.org/officeDocument/2006/relationships/image" Target="../media/image37.png"/><Relationship Id="rId5" Type="http://schemas.openxmlformats.org/officeDocument/2006/relationships/diagramColors" Target="../diagrams/colors1.xml"/><Relationship Id="rId15" Type="http://schemas.openxmlformats.org/officeDocument/2006/relationships/image" Target="../media/image40.jpeg"/><Relationship Id="rId10" Type="http://schemas.microsoft.com/office/2007/relationships/hdphoto" Target="../media/hdphoto2.wdp"/><Relationship Id="rId19" Type="http://schemas.openxmlformats.org/officeDocument/2006/relationships/image" Target="../media/image44.png"/><Relationship Id="rId4" Type="http://schemas.openxmlformats.org/officeDocument/2006/relationships/diagramQuickStyle" Target="../diagrams/quickStyle1.xml"/><Relationship Id="rId9" Type="http://schemas.openxmlformats.org/officeDocument/2006/relationships/image" Target="../media/image36.png"/><Relationship Id="rId14" Type="http://schemas.openxmlformats.org/officeDocument/2006/relationships/image" Target="../media/image39.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9.xml"/><Relationship Id="rId5" Type="http://schemas.openxmlformats.org/officeDocument/2006/relationships/image" Target="../media/image51.pn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out.ac.tz/wp-content/uploads/2019/10/Malaria-Strategic-Plan-2015-2020-1.pdf" TargetMode="Externa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4.png"/><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slideLayout" Target="../slideLayouts/slideLayout46.xml"/><Relationship Id="rId1" Type="http://schemas.openxmlformats.org/officeDocument/2006/relationships/tags" Target="../tags/tag61.xml"/><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hyperlink" Target="http://www.scorecardhub.org/" TargetMode="External"/><Relationship Id="rId2" Type="http://schemas.openxmlformats.org/officeDocument/2006/relationships/image" Target="../media/image55.png"/><Relationship Id="rId1" Type="http://schemas.openxmlformats.org/officeDocument/2006/relationships/slideLayout" Target="../slideLayouts/slideLayout29.xml"/><Relationship Id="rId5" Type="http://schemas.openxmlformats.org/officeDocument/2006/relationships/image" Target="../media/image56.png"/><Relationship Id="rId4" Type="http://schemas.openxmlformats.org/officeDocument/2006/relationships/hyperlink" Target="http://www.alma2030.org/"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Layout" Target="../slideLayouts/slideLayout2.xml"/><Relationship Id="rId1" Type="http://schemas.openxmlformats.org/officeDocument/2006/relationships/tags" Target="../tags/tag62.xml"/></Relationships>
</file>

<file path=ppt/slides/_rels/slide2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5.xml"/><Relationship Id="rId7" Type="http://schemas.openxmlformats.org/officeDocument/2006/relationships/oleObject" Target="../embeddings/oleObject15.bin"/><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notesSlide" Target="../notesSlides/notesSlide6.xml"/><Relationship Id="rId5" Type="http://schemas.openxmlformats.org/officeDocument/2006/relationships/slideLayout" Target="../slideLayouts/slideLayout3.xml"/><Relationship Id="rId4" Type="http://schemas.openxmlformats.org/officeDocument/2006/relationships/tags" Target="../tags/tag66.xml"/></Relationships>
</file>

<file path=ppt/slides/_rels/slide2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oleObject" Target="../embeddings/oleObject16.bin"/><Relationship Id="rId7" Type="http://schemas.openxmlformats.org/officeDocument/2006/relationships/image" Target="../media/image61.png"/><Relationship Id="rId2" Type="http://schemas.openxmlformats.org/officeDocument/2006/relationships/slideLayout" Target="../slideLayouts/slideLayout3.xml"/><Relationship Id="rId1" Type="http://schemas.openxmlformats.org/officeDocument/2006/relationships/tags" Target="../tags/tag67.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emf"/><Relationship Id="rId9" Type="http://schemas.openxmlformats.org/officeDocument/2006/relationships/image" Target="../media/image63.png"/></Relationships>
</file>

<file path=ppt/slides/_rels/slide2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slideLayout" Target="../slideLayouts/slideLayout2.xml"/><Relationship Id="rId1" Type="http://schemas.openxmlformats.org/officeDocument/2006/relationships/video" Target="https://www.youtube.com/embed/24esojRL6B0?feature=oembed" TargetMode="External"/><Relationship Id="rId4" Type="http://schemas.openxmlformats.org/officeDocument/2006/relationships/hyperlink" Target="https://www.dropbox.com/home/Technical%20team%20general%20folders/Knowledge%20Hub/ALMA%20courses/A%20-%20Video%20lessons?preview=02+-+Country+scorecard+management+tool+overview.mp4"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www.scorecardhub.org/" TargetMode="External"/><Relationship Id="rId2" Type="http://schemas.openxmlformats.org/officeDocument/2006/relationships/image" Target="../media/image25.pn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hyperlink" Target="http://www.malariascorecard.org/" TargetMode="External"/><Relationship Id="rId2" Type="http://schemas.openxmlformats.org/officeDocument/2006/relationships/hyperlink" Target="http://www.scorecardhub.org/" TargetMode="External"/><Relationship Id="rId1" Type="http://schemas.openxmlformats.org/officeDocument/2006/relationships/slideLayout" Target="../slideLayouts/slideLayout29.xml"/><Relationship Id="rId5" Type="http://schemas.openxmlformats.org/officeDocument/2006/relationships/hyperlink" Target="http://www.alma2030.org/" TargetMode="External"/><Relationship Id="rId4" Type="http://schemas.openxmlformats.org/officeDocument/2006/relationships/hyperlink" Target="http://www.rmncah.org/" TargetMode="External"/></Relationships>
</file>

<file path=ppt/slides/_rels/slide31.xml.rels><?xml version="1.0" encoding="UTF-8" standalone="yes"?>
<Relationships xmlns="http://schemas.openxmlformats.org/package/2006/relationships"><Relationship Id="rId2" Type="http://schemas.openxmlformats.org/officeDocument/2006/relationships/hyperlink" Target="http://www.rmncah.org/" TargetMode="Externa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slideLayout" Target="../slideLayouts/slideLayout2.xml"/><Relationship Id="rId1" Type="http://schemas.openxmlformats.org/officeDocument/2006/relationships/video" Target="https://www.youtube.com/embed/l5ZEW-RW7Us?feature=oembed" TargetMode="External"/><Relationship Id="rId4" Type="http://schemas.openxmlformats.org/officeDocument/2006/relationships/hyperlink" Target="https://www.dropbox.com/home/Technical%20team%20general%20folders/Knowledge%20Hub/ALMA%20courses/A%20-%20Video%20lessons?preview=06+-+Analyse+a+scorecard+to+identify+underperforming+indicators.mp4" TargetMode="Externa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7.bin"/><Relationship Id="rId13" Type="http://schemas.openxmlformats.org/officeDocument/2006/relationships/image" Target="../media/image71.jpeg"/><Relationship Id="rId3" Type="http://schemas.openxmlformats.org/officeDocument/2006/relationships/tags" Target="../tags/tag70.xml"/><Relationship Id="rId7" Type="http://schemas.openxmlformats.org/officeDocument/2006/relationships/notesSlide" Target="../notesSlides/notesSlide8.xml"/><Relationship Id="rId12" Type="http://schemas.openxmlformats.org/officeDocument/2006/relationships/image" Target="../media/image70.jpe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Layout" Target="../slideLayouts/slideLayout3.xml"/><Relationship Id="rId11" Type="http://schemas.openxmlformats.org/officeDocument/2006/relationships/image" Target="../media/image69.png"/><Relationship Id="rId5" Type="http://schemas.openxmlformats.org/officeDocument/2006/relationships/tags" Target="../tags/tag72.xml"/><Relationship Id="rId15" Type="http://schemas.openxmlformats.org/officeDocument/2006/relationships/image" Target="../media/image73.png"/><Relationship Id="rId10" Type="http://schemas.openxmlformats.org/officeDocument/2006/relationships/image" Target="../media/image68.png"/><Relationship Id="rId4" Type="http://schemas.openxmlformats.org/officeDocument/2006/relationships/tags" Target="../tags/tag71.xml"/><Relationship Id="rId9" Type="http://schemas.openxmlformats.org/officeDocument/2006/relationships/image" Target="../media/image58.emf"/><Relationship Id="rId14" Type="http://schemas.openxmlformats.org/officeDocument/2006/relationships/image" Target="../media/image72.png"/></Relationships>
</file>

<file path=ppt/slides/_rels/slide36.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tags" Target="../tags/tag90.xml"/><Relationship Id="rId3" Type="http://schemas.openxmlformats.org/officeDocument/2006/relationships/tags" Target="../tags/tag75.xml"/><Relationship Id="rId21" Type="http://schemas.openxmlformats.org/officeDocument/2006/relationships/notesSlide" Target="../notesSlides/notesSlide9.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tags" Target="../tags/tag89.xml"/><Relationship Id="rId2" Type="http://schemas.openxmlformats.org/officeDocument/2006/relationships/tags" Target="../tags/tag74.xml"/><Relationship Id="rId16" Type="http://schemas.openxmlformats.org/officeDocument/2006/relationships/tags" Target="../tags/tag88.xml"/><Relationship Id="rId20" Type="http://schemas.openxmlformats.org/officeDocument/2006/relationships/slideLayout" Target="../slideLayouts/slideLayout3.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tags" Target="../tags/tag87.xml"/><Relationship Id="rId23" Type="http://schemas.openxmlformats.org/officeDocument/2006/relationships/image" Target="../media/image74.emf"/><Relationship Id="rId10" Type="http://schemas.openxmlformats.org/officeDocument/2006/relationships/tags" Target="../tags/tag82.xml"/><Relationship Id="rId19" Type="http://schemas.openxmlformats.org/officeDocument/2006/relationships/tags" Target="../tags/tag91.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 Id="rId22" Type="http://schemas.openxmlformats.org/officeDocument/2006/relationships/oleObject" Target="../embeddings/oleObject18.bin"/></Relationships>
</file>

<file path=ppt/slides/_rels/slide3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38.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94.xml"/><Relationship Id="rId7" Type="http://schemas.openxmlformats.org/officeDocument/2006/relationships/image" Target="../media/image77.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notesSlide" Target="../notesSlides/notesSlide11.xml"/><Relationship Id="rId11" Type="http://schemas.openxmlformats.org/officeDocument/2006/relationships/image" Target="../media/image79.png"/><Relationship Id="rId5" Type="http://schemas.openxmlformats.org/officeDocument/2006/relationships/slideLayout" Target="../slideLayouts/slideLayout3.xml"/><Relationship Id="rId10" Type="http://schemas.openxmlformats.org/officeDocument/2006/relationships/image" Target="../media/image78.png"/><Relationship Id="rId4" Type="http://schemas.openxmlformats.org/officeDocument/2006/relationships/tags" Target="../tags/tag95.xml"/><Relationship Id="rId9" Type="http://schemas.openxmlformats.org/officeDocument/2006/relationships/image" Target="../media/image74.emf"/></Relationships>
</file>

<file path=ppt/slides/_rels/slide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27.xml"/><Relationship Id="rId1" Type="http://schemas.openxmlformats.org/officeDocument/2006/relationships/tags" Target="../tags/tag96.xml"/><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6.png"/></Relationships>
</file>

<file path=ppt/slides/_rels/slide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slideLayout" Target="../slideLayouts/slideLayout27.xml"/><Relationship Id="rId1" Type="http://schemas.openxmlformats.org/officeDocument/2006/relationships/tags" Target="../tags/tag97.xml"/><Relationship Id="rId5" Type="http://schemas.openxmlformats.org/officeDocument/2006/relationships/image" Target="../media/image84.png"/><Relationship Id="rId4" Type="http://schemas.openxmlformats.org/officeDocument/2006/relationships/image" Target="../media/image83.png"/></Relationships>
</file>

<file path=ppt/slides/_rels/slide4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4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slideLayout" Target="../slideLayouts/slideLayout2.xml"/><Relationship Id="rId1" Type="http://schemas.openxmlformats.org/officeDocument/2006/relationships/video" Target="https://www.youtube.com/embed/zGLO9OKstNQ?feature=oembed" TargetMode="External"/><Relationship Id="rId4" Type="http://schemas.openxmlformats.org/officeDocument/2006/relationships/hyperlink" Target="https://www.dropbox.com/home/Technical%20team%20general%20folders/Knowledge%20Hub/ALMA%20courses/A%20-%20Video%20lessons?preview=07+-+How+to+use+scorecard+data+for+action.mp4"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notesSlide" Target="../notesSlides/notesSlide13.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slideLayout" Target="../slideLayouts/slideLayout3.xml"/><Relationship Id="rId5" Type="http://schemas.openxmlformats.org/officeDocument/2006/relationships/tags" Target="../tags/tag102.xml"/><Relationship Id="rId4" Type="http://schemas.openxmlformats.org/officeDocument/2006/relationships/tags" Target="../tags/tag10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tags" Target="../tags/tag120.xml"/><Relationship Id="rId3" Type="http://schemas.openxmlformats.org/officeDocument/2006/relationships/tags" Target="../tags/tag105.xml"/><Relationship Id="rId21" Type="http://schemas.openxmlformats.org/officeDocument/2006/relationships/slideLayout" Target="../slideLayouts/slideLayout27.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tags" Target="../tags/tag122.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tags" Target="../tags/tag117.xml"/><Relationship Id="rId10" Type="http://schemas.openxmlformats.org/officeDocument/2006/relationships/tags" Target="../tags/tag112.xml"/><Relationship Id="rId19" Type="http://schemas.openxmlformats.org/officeDocument/2006/relationships/tags" Target="../tags/tag121.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notesSlide" Target="../notesSlides/notesSlide15.xml"/></Relationships>
</file>

<file path=ppt/slides/_rels/slide47.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tags" Target="../tags/tag135.xml"/><Relationship Id="rId18" Type="http://schemas.openxmlformats.org/officeDocument/2006/relationships/tags" Target="../tags/tag140.xml"/><Relationship Id="rId3" Type="http://schemas.openxmlformats.org/officeDocument/2006/relationships/tags" Target="../tags/tag125.xml"/><Relationship Id="rId21" Type="http://schemas.openxmlformats.org/officeDocument/2006/relationships/notesSlide" Target="../notesSlides/notesSlide16.xml"/><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tags" Target="../tags/tag139.xml"/><Relationship Id="rId2" Type="http://schemas.openxmlformats.org/officeDocument/2006/relationships/tags" Target="../tags/tag124.xml"/><Relationship Id="rId16" Type="http://schemas.openxmlformats.org/officeDocument/2006/relationships/tags" Target="../tags/tag138.xml"/><Relationship Id="rId20" Type="http://schemas.openxmlformats.org/officeDocument/2006/relationships/slideLayout" Target="../slideLayouts/slideLayout27.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tags" Target="../tags/tag133.xml"/><Relationship Id="rId5" Type="http://schemas.openxmlformats.org/officeDocument/2006/relationships/tags" Target="../tags/tag127.xml"/><Relationship Id="rId15" Type="http://schemas.openxmlformats.org/officeDocument/2006/relationships/tags" Target="../tags/tag137.xml"/><Relationship Id="rId10" Type="http://schemas.openxmlformats.org/officeDocument/2006/relationships/tags" Target="../tags/tag132.xml"/><Relationship Id="rId19" Type="http://schemas.openxmlformats.org/officeDocument/2006/relationships/tags" Target="../tags/tag141.xml"/><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tags" Target="../tags/tag136.xml"/></Relationships>
</file>

<file path=ppt/slides/_rels/slide4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27.xml"/><Relationship Id="rId4" Type="http://schemas.openxmlformats.org/officeDocument/2006/relationships/image" Target="../media/image89.png"/></Relationships>
</file>

<file path=ppt/slides/_rels/slide49.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tags" Target="../tags/tag167.xml"/><Relationship Id="rId39" Type="http://schemas.openxmlformats.org/officeDocument/2006/relationships/tags" Target="../tags/tag180.xml"/><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tags" Target="../tags/tag175.xml"/><Relationship Id="rId42" Type="http://schemas.openxmlformats.org/officeDocument/2006/relationships/tags" Target="../tags/tag183.xml"/><Relationship Id="rId47" Type="http://schemas.openxmlformats.org/officeDocument/2006/relationships/image" Target="../media/image90.png"/><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tags" Target="../tags/tag174.xml"/><Relationship Id="rId38" Type="http://schemas.openxmlformats.org/officeDocument/2006/relationships/tags" Target="../tags/tag179.xml"/><Relationship Id="rId46" Type="http://schemas.openxmlformats.org/officeDocument/2006/relationships/image" Target="../media/image74.emf"/><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tags" Target="../tags/tag170.xml"/><Relationship Id="rId41" Type="http://schemas.openxmlformats.org/officeDocument/2006/relationships/tags" Target="../tags/tag182.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tags" Target="../tags/tag173.xml"/><Relationship Id="rId37" Type="http://schemas.openxmlformats.org/officeDocument/2006/relationships/tags" Target="../tags/tag178.xml"/><Relationship Id="rId40" Type="http://schemas.openxmlformats.org/officeDocument/2006/relationships/tags" Target="../tags/tag181.xml"/><Relationship Id="rId45" Type="http://schemas.openxmlformats.org/officeDocument/2006/relationships/oleObject" Target="../embeddings/oleObject20.bin"/><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tags" Target="../tags/tag169.xml"/><Relationship Id="rId36" Type="http://schemas.openxmlformats.org/officeDocument/2006/relationships/tags" Target="../tags/tag177.xml"/><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tags" Target="../tags/tag172.xml"/><Relationship Id="rId44" Type="http://schemas.openxmlformats.org/officeDocument/2006/relationships/notesSlide" Target="../notesSlides/notesSlide18.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tags" Target="../tags/tag168.xml"/><Relationship Id="rId30" Type="http://schemas.openxmlformats.org/officeDocument/2006/relationships/tags" Target="../tags/tag171.xml"/><Relationship Id="rId35" Type="http://schemas.openxmlformats.org/officeDocument/2006/relationships/tags" Target="../tags/tag176.xml"/><Relationship Id="rId43"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hart" Target="../charts/chart1.xml"/><Relationship Id="rId1" Type="http://schemas.openxmlformats.org/officeDocument/2006/relationships/slideLayout" Target="../slideLayouts/slideLayout27.xml"/><Relationship Id="rId5" Type="http://schemas.openxmlformats.org/officeDocument/2006/relationships/image" Target="../media/image28.png"/><Relationship Id="rId4" Type="http://schemas.openxmlformats.org/officeDocument/2006/relationships/hyperlink" Target="http://www.scorecardhub.org/"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51.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slideLayout" Target="../slideLayouts/slideLayout2.xml"/><Relationship Id="rId1" Type="http://schemas.openxmlformats.org/officeDocument/2006/relationships/video" Target="https://www.youtube.com/embed/pGtzv2oa25o?feature=oembed" TargetMode="External"/><Relationship Id="rId4" Type="http://schemas.openxmlformats.org/officeDocument/2006/relationships/hyperlink" Target="https://www.dropbox.com/home/Technical%20team%20general%20folders/Knowledge%20Hub/ALMA%20courses/A%20-%20Video%20lessons?preview=08+-+Integrate+a+scorecard+into+accountability+structures%2C+establish+roles+and+responsibilities.mp4" TargetMode="Externa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184.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185.xml"/></Relationships>
</file>

<file path=ppt/slides/_rels/slide54.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92.png"/><Relationship Id="rId7" Type="http://schemas.openxmlformats.org/officeDocument/2006/relationships/image" Target="../media/image94.png"/><Relationship Id="rId2" Type="http://schemas.openxmlformats.org/officeDocument/2006/relationships/slideLayout" Target="../slideLayouts/slideLayout27.xml"/><Relationship Id="rId1" Type="http://schemas.openxmlformats.org/officeDocument/2006/relationships/tags" Target="../tags/tag186.xml"/><Relationship Id="rId6" Type="http://schemas.microsoft.com/office/2007/relationships/hdphoto" Target="../media/hdphoto5.wdp"/><Relationship Id="rId5" Type="http://schemas.openxmlformats.org/officeDocument/2006/relationships/image" Target="../media/image93.png"/><Relationship Id="rId4" Type="http://schemas.microsoft.com/office/2007/relationships/hdphoto" Target="../media/hdphoto4.wdp"/></Relationships>
</file>

<file path=ppt/slides/_rels/slide55.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slideLayout" Target="../slideLayouts/slideLayout48.xml"/><Relationship Id="rId1" Type="http://schemas.openxmlformats.org/officeDocument/2006/relationships/tags" Target="../tags/tag187.xml"/><Relationship Id="rId6" Type="http://schemas.openxmlformats.org/officeDocument/2006/relationships/image" Target="../media/image98.png"/><Relationship Id="rId5" Type="http://schemas.openxmlformats.org/officeDocument/2006/relationships/image" Target="../media/image97.jpeg"/><Relationship Id="rId4" Type="http://schemas.openxmlformats.org/officeDocument/2006/relationships/image" Target="../media/image96.png"/></Relationships>
</file>

<file path=ppt/slides/_rels/slide5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0.xml"/><Relationship Id="rId1" Type="http://schemas.openxmlformats.org/officeDocument/2006/relationships/slideLayout" Target="../slideLayouts/slideLayout43.xml"/></Relationships>
</file>

<file path=ppt/slides/_rels/slide5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slideLayout" Target="../slideLayouts/slideLayout2.xml"/><Relationship Id="rId1" Type="http://schemas.openxmlformats.org/officeDocument/2006/relationships/video" Target="https://www.youtube.com/embed/uhuL36gB2Bs?feature=oembed" TargetMode="Externa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188.xml"/></Relationships>
</file>

<file path=ppt/slides/_rels/slide59.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slideLayout" Target="../slideLayouts/slideLayout27.xml"/><Relationship Id="rId1" Type="http://schemas.openxmlformats.org/officeDocument/2006/relationships/tags" Target="../tags/tag189.xml"/><Relationship Id="rId6" Type="http://schemas.openxmlformats.org/officeDocument/2006/relationships/image" Target="../media/image103.jpeg"/><Relationship Id="rId5" Type="http://schemas.openxmlformats.org/officeDocument/2006/relationships/image" Target="../media/image102.png"/><Relationship Id="rId4" Type="http://schemas.openxmlformats.org/officeDocument/2006/relationships/image" Target="../media/image101.png"/></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190.xml"/></Relationships>
</file>

<file path=ppt/slides/_rels/slide6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62.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slideLayout" Target="../slideLayouts/slideLayout4.xml"/><Relationship Id="rId1" Type="http://schemas.openxmlformats.org/officeDocument/2006/relationships/video" Target="https://www.youtube.com/embed/gVZDWcpe2RA?feature=oembed" TargetMode="Externa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191.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192.xml"/></Relationships>
</file>

<file path=ppt/slides/_rels/slide6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slideLayout" Target="../slideLayouts/slideLayout27.xml"/><Relationship Id="rId1" Type="http://schemas.openxmlformats.org/officeDocument/2006/relationships/tags" Target="../tags/tag193.xml"/><Relationship Id="rId4" Type="http://schemas.openxmlformats.org/officeDocument/2006/relationships/image" Target="../media/image107.png"/></Relationships>
</file>

<file path=ppt/slides/_rels/slide6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2.xml"/><Relationship Id="rId1" Type="http://schemas.openxmlformats.org/officeDocument/2006/relationships/slideLayout" Target="../slideLayouts/slideLayout43.xml"/></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194.xml"/></Relationships>
</file>

<file path=ppt/slides/_rels/slide6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7.xml"/></Relationships>
</file>

<file path=ppt/slides/_rels/slide7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3.xml"/><Relationship Id="rId1" Type="http://schemas.openxmlformats.org/officeDocument/2006/relationships/slideLayout" Target="../slideLayouts/slideLayout4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hyperlink" Target="https://scorecardhub.org/scorecards/?c=all&amp;t=malaria-scorecard-tools&amp;y=all" TargetMode="External"/><Relationship Id="rId2" Type="http://schemas.openxmlformats.org/officeDocument/2006/relationships/hyperlink" Target="https://scorecardhub.org/guides-and-toolkits/download-course-content-to-access-when-you-do-not-have-an-internet-connection/" TargetMode="External"/><Relationship Id="rId1" Type="http://schemas.openxmlformats.org/officeDocument/2006/relationships/slideLayout" Target="../slideLayouts/slideLayout27.xml"/><Relationship Id="rId5" Type="http://schemas.openxmlformats.org/officeDocument/2006/relationships/image" Target="../media/image31.png"/><Relationship Id="rId4" Type="http://schemas.openxmlformats.org/officeDocument/2006/relationships/hyperlink" Target="https://scorecardhub.org/best-practices/?cat=malaria-scorecard-tools"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scorecardhub.org/courses/alma-youth-advisory-council-course/" TargetMode="External"/><Relationship Id="rId2" Type="http://schemas.openxmlformats.org/officeDocument/2006/relationships/hyperlink" Target="http://www.scorecardhub.org/" TargetMode="External"/><Relationship Id="rId1" Type="http://schemas.openxmlformats.org/officeDocument/2006/relationships/slideLayout" Target="../slideLayouts/slideLayout27.xml"/><Relationship Id="rId4" Type="http://schemas.openxmlformats.org/officeDocument/2006/relationships/hyperlink" Target="https://scorecardhub.org/fr/courses/formation-du-conseil-consultatif-des-jeunes-de-lalm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75538" y="3606170"/>
            <a:ext cx="8048430" cy="1737142"/>
          </a:xfrm>
        </p:spPr>
        <p:txBody>
          <a:bodyPr/>
          <a:lstStyle/>
          <a:p>
            <a:pPr algn="ctr"/>
            <a:r>
              <a:rPr lang="fr-FR" sz="3136" dirty="0">
                <a:solidFill>
                  <a:schemeClr val="tx1"/>
                </a:solidFill>
              </a:rPr>
              <a:t>ALMA Youth Advisory Advisoy Council Scorecard Management Tool Training</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6" name="Picture 15">
            <a:extLst>
              <a:ext uri="{FF2B5EF4-FFF2-40B4-BE49-F238E27FC236}">
                <a16:creationId xmlns:a16="http://schemas.microsoft.com/office/drawing/2014/main" id="{BC144487-5378-4684-AB36-7F0E102B81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31317" y="1919978"/>
            <a:ext cx="6333380" cy="1496261"/>
          </a:xfrm>
          <a:prstGeom prst="rect">
            <a:avLst/>
          </a:prstGeom>
        </p:spPr>
      </p:pic>
      <p:pic>
        <p:nvPicPr>
          <p:cNvPr id="17" name="Picture 16" descr="A person wearing a suit and tie smiling at the camera&#10;&#10;Description automatically generated">
            <a:extLst>
              <a:ext uri="{FF2B5EF4-FFF2-40B4-BE49-F238E27FC236}">
                <a16:creationId xmlns:a16="http://schemas.microsoft.com/office/drawing/2014/main" id="{0EE2801F-0904-4370-9283-724866E05AE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268" y="4878819"/>
            <a:ext cx="941691" cy="941691"/>
          </a:xfrm>
          <a:prstGeom prst="rect">
            <a:avLst/>
          </a:prstGeom>
        </p:spPr>
      </p:pic>
      <p:pic>
        <p:nvPicPr>
          <p:cNvPr id="18" name="Picture 17" descr="A person wearing a suit and tie&#10;&#10;Description automatically generated">
            <a:extLst>
              <a:ext uri="{FF2B5EF4-FFF2-40B4-BE49-F238E27FC236}">
                <a16:creationId xmlns:a16="http://schemas.microsoft.com/office/drawing/2014/main" id="{0B1C71DA-7E9D-483E-9656-F74C54DDEA5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3268" y="3905877"/>
            <a:ext cx="941691" cy="941691"/>
          </a:xfrm>
          <a:prstGeom prst="rect">
            <a:avLst/>
          </a:prstGeom>
        </p:spPr>
      </p:pic>
      <p:pic>
        <p:nvPicPr>
          <p:cNvPr id="19" name="Picture 18" descr="A person wearing a suit and tie&#10;&#10;Description automatically generated">
            <a:extLst>
              <a:ext uri="{FF2B5EF4-FFF2-40B4-BE49-F238E27FC236}">
                <a16:creationId xmlns:a16="http://schemas.microsoft.com/office/drawing/2014/main" id="{437975AF-5BC7-425D-B1E6-D3C9A51862C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3268" y="2932935"/>
            <a:ext cx="941691" cy="941691"/>
          </a:xfrm>
          <a:prstGeom prst="rect">
            <a:avLst/>
          </a:prstGeom>
        </p:spPr>
      </p:pic>
      <p:pic>
        <p:nvPicPr>
          <p:cNvPr id="20" name="Picture 19" descr="A person wearing a suit and tie&#10;&#10;Description automatically generated">
            <a:extLst>
              <a:ext uri="{FF2B5EF4-FFF2-40B4-BE49-F238E27FC236}">
                <a16:creationId xmlns:a16="http://schemas.microsoft.com/office/drawing/2014/main" id="{DED69F4E-7154-4058-B5C9-F12A924D605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268" y="1959993"/>
            <a:ext cx="941691" cy="941691"/>
          </a:xfrm>
          <a:prstGeom prst="rect">
            <a:avLst/>
          </a:prstGeom>
        </p:spPr>
      </p:pic>
      <p:pic>
        <p:nvPicPr>
          <p:cNvPr id="21" name="Picture 20" descr="A person in a blue shirt&#10;&#10;Description automatically generated">
            <a:extLst>
              <a:ext uri="{FF2B5EF4-FFF2-40B4-BE49-F238E27FC236}">
                <a16:creationId xmlns:a16="http://schemas.microsoft.com/office/drawing/2014/main" id="{3502DDAF-29AC-4ADA-A816-00B0B3014C5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3268" y="987051"/>
            <a:ext cx="941691" cy="941691"/>
          </a:xfrm>
          <a:prstGeom prst="rect">
            <a:avLst/>
          </a:prstGeom>
        </p:spPr>
      </p:pic>
      <p:pic>
        <p:nvPicPr>
          <p:cNvPr id="22" name="Picture 21" descr="A person wearing a suit and tie&#10;&#10;Description automatically generated">
            <a:extLst>
              <a:ext uri="{FF2B5EF4-FFF2-40B4-BE49-F238E27FC236}">
                <a16:creationId xmlns:a16="http://schemas.microsoft.com/office/drawing/2014/main" id="{89AF3C05-6A51-47E8-805D-C384A325B9E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3267" y="14109"/>
            <a:ext cx="941691" cy="941691"/>
          </a:xfrm>
          <a:prstGeom prst="rect">
            <a:avLst/>
          </a:prstGeom>
        </p:spPr>
      </p:pic>
      <p:pic>
        <p:nvPicPr>
          <p:cNvPr id="23" name="Picture 2">
            <a:extLst>
              <a:ext uri="{FF2B5EF4-FFF2-40B4-BE49-F238E27FC236}">
                <a16:creationId xmlns:a16="http://schemas.microsoft.com/office/drawing/2014/main" id="{EA20B0A3-6AA7-4735-AF4F-91AC41A95CEF}"/>
              </a:ext>
            </a:extLst>
          </p:cNvPr>
          <p:cNvPicPr>
            <a:picLocks noChangeAspect="1" noChangeArrowheads="1"/>
          </p:cNvPicPr>
          <p:nvPr/>
        </p:nvPicPr>
        <p:blipFill rotWithShape="1">
          <a:blip r:embed="rId10">
            <a:extLst>
              <a:ext uri="{28A0092B-C50C-407E-A947-70E740481C1C}">
                <a14:useLocalDpi xmlns:a14="http://schemas.microsoft.com/office/drawing/2010/main"/>
              </a:ext>
            </a:extLst>
          </a:blip>
          <a:srcRect b="31856"/>
          <a:stretch/>
        </p:blipFill>
        <p:spPr bwMode="auto">
          <a:xfrm>
            <a:off x="13268" y="5851762"/>
            <a:ext cx="941691" cy="8556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12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85B17C85-56ED-4CDA-BBC0-FD62BF55A551}"/>
              </a:ext>
            </a:extLst>
          </p:cNvPr>
          <p:cNvSpPr txBox="1">
            <a:spLocks/>
          </p:cNvSpPr>
          <p:nvPr/>
        </p:nvSpPr>
        <p:spPr>
          <a:xfrm>
            <a:off x="455710" y="4180023"/>
            <a:ext cx="8048430" cy="1737142"/>
          </a:xfrm>
          <a:prstGeom prst="rect">
            <a:avLst/>
          </a:prstGeom>
        </p:spPr>
        <p:txBody>
          <a:bodyPr vert="horz" wrap="square" lIns="0" tIns="0" rIns="0" bIns="0" rtlCol="0" anchor="ctr">
            <a:spAutoFit/>
          </a:bodyPr>
          <a:lstStyle>
            <a:lvl1pPr algn="l" defTabSz="672067" rtl="0" eaLnBrk="1" latinLnBrk="0" hangingPunct="1">
              <a:lnSpc>
                <a:spcPct val="90000"/>
              </a:lnSpc>
              <a:spcBef>
                <a:spcPct val="0"/>
              </a:spcBef>
              <a:buNone/>
              <a:defRPr sz="264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algn="ctr" fontAlgn="auto">
              <a:spcAft>
                <a:spcPts val="0"/>
              </a:spcAft>
            </a:pPr>
            <a:r>
              <a:rPr lang="fr-FR" sz="3136" dirty="0">
                <a:solidFill>
                  <a:schemeClr val="tx1"/>
                </a:solidFill>
              </a:rPr>
              <a:t>Overview of malaria context and interventions</a:t>
            </a:r>
            <a:br>
              <a:rPr lang="fr-FR" sz="3136" dirty="0">
                <a:solidFill>
                  <a:schemeClr val="tx1"/>
                </a:solidFill>
              </a:rPr>
            </a:br>
            <a:br>
              <a:rPr lang="fr-FR" sz="3136" dirty="0">
                <a:solidFill>
                  <a:schemeClr val="tx1"/>
                </a:solidFill>
              </a:rPr>
            </a:br>
            <a:endParaRPr lang="en-US" sz="3136" dirty="0">
              <a:solidFill>
                <a:schemeClr val="tx1"/>
              </a:solidFill>
            </a:endParaRPr>
          </a:p>
        </p:txBody>
      </p:sp>
      <p:pic>
        <p:nvPicPr>
          <p:cNvPr id="8" name="Picture 7">
            <a:extLst>
              <a:ext uri="{FF2B5EF4-FFF2-40B4-BE49-F238E27FC236}">
                <a16:creationId xmlns:a16="http://schemas.microsoft.com/office/drawing/2014/main" id="{393BBE19-56A8-4EBD-B210-04B0887D6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234" y="1775996"/>
            <a:ext cx="7352982" cy="1737142"/>
          </a:xfrm>
          <a:prstGeom prst="rect">
            <a:avLst/>
          </a:prstGeom>
        </p:spPr>
      </p:pic>
    </p:spTree>
    <p:extLst>
      <p:ext uri="{BB962C8B-B14F-4D97-AF65-F5344CB8AC3E}">
        <p14:creationId xmlns:p14="http://schemas.microsoft.com/office/powerpoint/2010/main" val="40690162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5DB66-9E3F-4386-9163-D13CF8239E43}"/>
              </a:ext>
            </a:extLst>
          </p:cNvPr>
          <p:cNvSpPr>
            <a:spLocks noGrp="1"/>
          </p:cNvSpPr>
          <p:nvPr>
            <p:ph type="title" idx="4294967295"/>
          </p:nvPr>
        </p:nvSpPr>
        <p:spPr>
          <a:xfrm>
            <a:off x="963573" y="528282"/>
            <a:ext cx="8065294" cy="434375"/>
          </a:xfrm>
        </p:spPr>
        <p:txBody>
          <a:bodyPr>
            <a:normAutofit fontScale="90000"/>
          </a:bodyPr>
          <a:lstStyle/>
          <a:p>
            <a:r>
              <a:rPr lang="en-US" sz="2800" dirty="0">
                <a:latin typeface="Arial" panose="020B0604020202020204" pitchFamily="34" charset="0"/>
                <a:cs typeface="Arial" panose="020B0604020202020204" pitchFamily="34" charset="0"/>
              </a:rPr>
              <a:t>Malaria Context</a:t>
            </a:r>
          </a:p>
        </p:txBody>
      </p:sp>
      <p:sp>
        <p:nvSpPr>
          <p:cNvPr id="3" name="Title 1">
            <a:extLst>
              <a:ext uri="{FF2B5EF4-FFF2-40B4-BE49-F238E27FC236}">
                <a16:creationId xmlns:a16="http://schemas.microsoft.com/office/drawing/2014/main" id="{B3E2BBA0-7A52-4EE9-ABBC-9A3A95C671B6}"/>
              </a:ext>
            </a:extLst>
          </p:cNvPr>
          <p:cNvSpPr txBox="1">
            <a:spLocks/>
          </p:cNvSpPr>
          <p:nvPr/>
        </p:nvSpPr>
        <p:spPr bwMode="auto">
          <a:xfrm>
            <a:off x="697693" y="1152817"/>
            <a:ext cx="7750159"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600" b="0" i="0" dirty="0">
                <a:solidFill>
                  <a:schemeClr val="tx1"/>
                </a:solidFill>
                <a:effectLst/>
                <a:latin typeface="Arial" panose="020B0604020202020204" pitchFamily="34" charset="0"/>
                <a:cs typeface="Arial" panose="020B0604020202020204" pitchFamily="34" charset="0"/>
              </a:rPr>
              <a:t>Each year more than 400,000 people die of malaria – 90% in Africa</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600" b="0" dirty="0">
                <a:solidFill>
                  <a:schemeClr val="tx1"/>
                </a:solidFill>
                <a:latin typeface="Arial" panose="020B0604020202020204" pitchFamily="34" charset="0"/>
                <a:cs typeface="Arial" panose="020B0604020202020204" pitchFamily="34" charset="0"/>
              </a:rPr>
              <a:t>T</a:t>
            </a:r>
            <a:r>
              <a:rPr lang="en-US" sz="1600" b="0" i="0" dirty="0">
                <a:solidFill>
                  <a:schemeClr val="tx1"/>
                </a:solidFill>
                <a:effectLst/>
                <a:latin typeface="Arial" panose="020B0604020202020204" pitchFamily="34" charset="0"/>
                <a:cs typeface="Arial" panose="020B0604020202020204" pitchFamily="34" charset="0"/>
              </a:rPr>
              <a:t>wo thirds of deaths are among children under the age of five</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600" b="0" i="0" dirty="0">
                <a:solidFill>
                  <a:schemeClr val="tx1"/>
                </a:solidFill>
                <a:effectLst/>
                <a:latin typeface="Arial" panose="020B0604020202020204" pitchFamily="34" charset="0"/>
                <a:cs typeface="Arial" panose="020B0604020202020204" pitchFamily="34" charset="0"/>
              </a:rPr>
              <a:t>229 million new malaria infections in 2019</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600" b="0" i="0" dirty="0">
                <a:solidFill>
                  <a:schemeClr val="tx1"/>
                </a:solidFill>
                <a:effectLst/>
                <a:latin typeface="Arial" panose="020B0604020202020204" pitchFamily="34" charset="0"/>
                <a:cs typeface="Arial" panose="020B0604020202020204" pitchFamily="34" charset="0"/>
              </a:rPr>
              <a:t>Progress since 2000: 1.5 billion malaria cases and 7.6 million deaths averted</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600" b="0" kern="0" dirty="0">
                <a:solidFill>
                  <a:schemeClr val="tx1"/>
                </a:solidFill>
                <a:latin typeface="Arial" panose="020B0604020202020204" pitchFamily="34" charset="0"/>
                <a:cs typeface="Arial" panose="020B0604020202020204" pitchFamily="34" charset="0"/>
              </a:rPr>
              <a:t>AU Heads of Sate committed to eliminating malaria in Africa by 2030</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1600" b="0" kern="0" dirty="0">
              <a:solidFill>
                <a:schemeClr val="tx1"/>
              </a:solidFill>
              <a:latin typeface="Arial" panose="020B0604020202020204" pitchFamily="34" charset="0"/>
              <a:cs typeface="Arial" panose="020B0604020202020204" pitchFamily="34" charset="0"/>
            </a:endParaRPr>
          </a:p>
        </p:txBody>
      </p:sp>
      <p:pic>
        <p:nvPicPr>
          <p:cNvPr id="1031170" name="Picture 2" descr="http://www.free-icons-download.net/images/objective-88507.png">
            <a:extLst>
              <a:ext uri="{FF2B5EF4-FFF2-40B4-BE49-F238E27FC236}">
                <a16:creationId xmlns:a16="http://schemas.microsoft.com/office/drawing/2014/main" id="{4C5D204A-59E5-415F-904C-804351335A7B}"/>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30131" y="338122"/>
            <a:ext cx="1025667" cy="102566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FA0D00CA-D568-46AE-9036-6E03545987CC}"/>
              </a:ext>
            </a:extLst>
          </p:cNvPr>
          <p:cNvPicPr>
            <a:picLocks noChangeAspect="1"/>
          </p:cNvPicPr>
          <p:nvPr/>
        </p:nvPicPr>
        <p:blipFill rotWithShape="1">
          <a:blip r:embed="rId3"/>
          <a:srcRect t="5188"/>
          <a:stretch/>
        </p:blipFill>
        <p:spPr>
          <a:xfrm>
            <a:off x="2047865" y="3337338"/>
            <a:ext cx="5049814" cy="3119769"/>
          </a:xfrm>
          <a:prstGeom prst="rect">
            <a:avLst/>
          </a:prstGeom>
        </p:spPr>
      </p:pic>
    </p:spTree>
    <p:extLst>
      <p:ext uri="{BB962C8B-B14F-4D97-AF65-F5344CB8AC3E}">
        <p14:creationId xmlns:p14="http://schemas.microsoft.com/office/powerpoint/2010/main" val="27462929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18B70D5F-6B44-4C8E-8328-94EF1621B0A2}"/>
              </a:ext>
            </a:extLst>
          </p:cNvPr>
          <p:cNvSpPr txBox="1">
            <a:spLocks/>
          </p:cNvSpPr>
          <p:nvPr/>
        </p:nvSpPr>
        <p:spPr>
          <a:xfrm>
            <a:off x="665501" y="1127031"/>
            <a:ext cx="8700828" cy="484471"/>
          </a:xfrm>
          <a:prstGeom prst="rect">
            <a:avLst/>
          </a:prstGeom>
        </p:spPr>
        <p:txBody>
          <a:bodyPr vert="horz" wrap="square" lIns="82721" tIns="41360" rIns="82721" bIns="41360" rtlCol="0" anchor="t">
            <a:spAutoFit/>
          </a:bodyPr>
          <a:lstStyle>
            <a:lvl1pPr algn="l" defTabSz="914400" rtl="0" eaLnBrk="1" latinLnBrk="0" hangingPunct="1">
              <a:lnSpc>
                <a:spcPct val="90000"/>
              </a:lnSpc>
              <a:spcBef>
                <a:spcPct val="0"/>
              </a:spcBef>
              <a:buNone/>
              <a:defRPr sz="4285" b="0" kern="1200" baseline="0">
                <a:solidFill>
                  <a:srgbClr val="375199"/>
                </a:solidFill>
                <a:latin typeface="Arial" panose="020B0604020202020204" pitchFamily="34" charset="0"/>
                <a:ea typeface="+mj-ea"/>
                <a:cs typeface="Arial" panose="020B0604020202020204" pitchFamily="34" charset="0"/>
              </a:defRPr>
            </a:lvl1pPr>
          </a:lstStyle>
          <a:p>
            <a:r>
              <a:rPr lang="en-GB" sz="2895" b="1" dirty="0">
                <a:solidFill>
                  <a:schemeClr val="tx1"/>
                </a:solidFill>
              </a:rPr>
              <a:t>Malaria Economic impact Summary:</a:t>
            </a:r>
          </a:p>
        </p:txBody>
      </p:sp>
      <p:sp>
        <p:nvSpPr>
          <p:cNvPr id="5" name="TextBox 4">
            <a:extLst>
              <a:ext uri="{FF2B5EF4-FFF2-40B4-BE49-F238E27FC236}">
                <a16:creationId xmlns:a16="http://schemas.microsoft.com/office/drawing/2014/main" id="{228A8A84-7C07-4A97-9697-E3C3ADB9301E}"/>
              </a:ext>
            </a:extLst>
          </p:cNvPr>
          <p:cNvSpPr txBox="1"/>
          <p:nvPr/>
        </p:nvSpPr>
        <p:spPr>
          <a:xfrm>
            <a:off x="-144282" y="5372768"/>
            <a:ext cx="9510611" cy="649088"/>
          </a:xfrm>
          <a:prstGeom prst="rect">
            <a:avLst/>
          </a:prstGeom>
          <a:noFill/>
          <a:effectLst>
            <a:outerShdw blurRad="50800" dist="38100" dir="5400000" algn="t" rotWithShape="0">
              <a:prstClr val="black">
                <a:alpha val="40000"/>
              </a:prstClr>
            </a:outerShdw>
          </a:effectLst>
        </p:spPr>
        <p:txBody>
          <a:bodyPr wrap="square" rtlCol="0" anchor="ctr">
            <a:spAutoFit/>
          </a:bodyPr>
          <a:lstStyle/>
          <a:p>
            <a:pPr lvl="0" algn="ctr"/>
            <a:r>
              <a:rPr lang="en-US" sz="3618" b="1" dirty="0">
                <a:latin typeface="Arial" panose="020B0604020202020204" pitchFamily="34" charset="0"/>
                <a:cs typeface="Arial" panose="020B0604020202020204" pitchFamily="34" charset="0"/>
              </a:rPr>
              <a:t>Up to 1.3% lower GDP growth</a:t>
            </a:r>
            <a:endParaRPr lang="en-GB" sz="3618" b="1"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B73E28CF-55C9-483C-9DFE-CE12762AF583}"/>
              </a:ext>
            </a:extLst>
          </p:cNvPr>
          <p:cNvSpPr/>
          <p:nvPr/>
        </p:nvSpPr>
        <p:spPr>
          <a:xfrm>
            <a:off x="541476" y="1880465"/>
            <a:ext cx="7675066" cy="3359061"/>
          </a:xfrm>
          <a:prstGeom prst="rect">
            <a:avLst/>
          </a:prstGeom>
        </p:spPr>
        <p:txBody>
          <a:bodyPr wrap="square">
            <a:spAutoFit/>
          </a:bodyPr>
          <a:lstStyle/>
          <a:p>
            <a:pPr marL="258489" indent="-258489">
              <a:spcBef>
                <a:spcPts val="543"/>
              </a:spcBef>
              <a:spcAft>
                <a:spcPts val="543"/>
              </a:spcAft>
              <a:buFont typeface="Arial" panose="020B0604020202020204" pitchFamily="34" charset="0"/>
              <a:buChar char="•"/>
            </a:pPr>
            <a:r>
              <a:rPr lang="en-US" sz="2533" dirty="0">
                <a:latin typeface="Arial" panose="020B0604020202020204" pitchFamily="34" charset="0"/>
                <a:cs typeface="Arial" panose="020B0604020202020204" pitchFamily="34" charset="0"/>
              </a:rPr>
              <a:t>Work absenteeism</a:t>
            </a:r>
          </a:p>
          <a:p>
            <a:pPr marL="258489" indent="-258489">
              <a:spcBef>
                <a:spcPts val="543"/>
              </a:spcBef>
              <a:spcAft>
                <a:spcPts val="543"/>
              </a:spcAft>
              <a:buFont typeface="Arial" panose="020B0604020202020204" pitchFamily="34" charset="0"/>
              <a:buChar char="•"/>
            </a:pPr>
            <a:r>
              <a:rPr lang="en-US" sz="2533" dirty="0">
                <a:latin typeface="Arial" panose="020B0604020202020204" pitchFamily="34" charset="0"/>
                <a:cs typeface="Arial" panose="020B0604020202020204" pitchFamily="34" charset="0"/>
              </a:rPr>
              <a:t>School absenteeism</a:t>
            </a:r>
          </a:p>
          <a:p>
            <a:pPr marL="258489" indent="-258489">
              <a:spcBef>
                <a:spcPts val="543"/>
              </a:spcBef>
              <a:spcAft>
                <a:spcPts val="543"/>
              </a:spcAft>
              <a:buFont typeface="Arial" panose="020B0604020202020204" pitchFamily="34" charset="0"/>
              <a:buChar char="•"/>
            </a:pPr>
            <a:r>
              <a:rPr lang="en-US" sz="2533" dirty="0">
                <a:latin typeface="Arial" panose="020B0604020202020204" pitchFamily="34" charset="0"/>
                <a:cs typeface="Arial" panose="020B0604020202020204" pitchFamily="34" charset="0"/>
              </a:rPr>
              <a:t>Less investment</a:t>
            </a:r>
          </a:p>
          <a:p>
            <a:pPr marL="258489" indent="-258489">
              <a:spcBef>
                <a:spcPts val="543"/>
              </a:spcBef>
              <a:spcAft>
                <a:spcPts val="543"/>
              </a:spcAft>
              <a:buFont typeface="Arial" panose="020B0604020202020204" pitchFamily="34" charset="0"/>
              <a:buChar char="•"/>
            </a:pPr>
            <a:r>
              <a:rPr lang="en-US" sz="2533" dirty="0">
                <a:latin typeface="Arial" panose="020B0604020202020204" pitchFamily="34" charset="0"/>
                <a:cs typeface="Arial" panose="020B0604020202020204" pitchFamily="34" charset="0"/>
              </a:rPr>
              <a:t>Reduced consumption</a:t>
            </a:r>
          </a:p>
          <a:p>
            <a:pPr marL="258489" indent="-258489">
              <a:spcBef>
                <a:spcPts val="543"/>
              </a:spcBef>
              <a:spcAft>
                <a:spcPts val="543"/>
              </a:spcAft>
              <a:buFont typeface="Arial" panose="020B0604020202020204" pitchFamily="34" charset="0"/>
              <a:buChar char="•"/>
            </a:pPr>
            <a:r>
              <a:rPr lang="en-US" sz="2533" dirty="0">
                <a:latin typeface="Arial" panose="020B0604020202020204" pitchFamily="34" charset="0"/>
                <a:cs typeface="Arial" panose="020B0604020202020204" pitchFamily="34" charset="0"/>
              </a:rPr>
              <a:t>Lost tourism</a:t>
            </a:r>
          </a:p>
          <a:p>
            <a:pPr marL="258489" indent="-258489">
              <a:spcBef>
                <a:spcPts val="543"/>
              </a:spcBef>
              <a:spcAft>
                <a:spcPts val="543"/>
              </a:spcAft>
              <a:buFont typeface="Arial" panose="020B0604020202020204" pitchFamily="34" charset="0"/>
              <a:buChar char="•"/>
            </a:pPr>
            <a:r>
              <a:rPr lang="en-US" sz="2533" dirty="0">
                <a:latin typeface="Arial" panose="020B0604020202020204" pitchFamily="34" charset="0"/>
                <a:cs typeface="Arial" panose="020B0604020202020204" pitchFamily="34" charset="0"/>
              </a:rPr>
              <a:t>High health sector costs</a:t>
            </a:r>
          </a:p>
          <a:p>
            <a:pPr marL="258489" indent="-258489">
              <a:buFont typeface="Arial" panose="020B0604020202020204" pitchFamily="34" charset="0"/>
              <a:buChar char="•"/>
            </a:pPr>
            <a:endParaRPr lang="en-US" sz="1447" dirty="0"/>
          </a:p>
        </p:txBody>
      </p:sp>
      <p:sp>
        <p:nvSpPr>
          <p:cNvPr id="9" name="Rectangle 8">
            <a:extLst>
              <a:ext uri="{FF2B5EF4-FFF2-40B4-BE49-F238E27FC236}">
                <a16:creationId xmlns:a16="http://schemas.microsoft.com/office/drawing/2014/main" id="{A1C14CBB-7E3C-48CA-BDD7-8AAEDA863D5D}"/>
              </a:ext>
            </a:extLst>
          </p:cNvPr>
          <p:cNvSpPr/>
          <p:nvPr/>
        </p:nvSpPr>
        <p:spPr>
          <a:xfrm>
            <a:off x="541476" y="5426223"/>
            <a:ext cx="8162208" cy="569704"/>
          </a:xfrm>
          <a:prstGeom prst="rect">
            <a:avLst/>
          </a:prstGeom>
          <a:noFill/>
          <a:ln w="28575">
            <a:solidFill>
              <a:srgbClr val="EB5A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3583" fontAlgn="auto">
              <a:spcBef>
                <a:spcPts val="0"/>
              </a:spcBef>
              <a:spcAft>
                <a:spcPts val="0"/>
              </a:spcAft>
              <a:defRPr/>
            </a:pPr>
            <a:endParaRPr lang="en-GB" sz="1628">
              <a:solidFill>
                <a:prstClr val="white"/>
              </a:solidFill>
              <a:latin typeface="Calibri" panose="020F0502020204030204"/>
            </a:endParaRPr>
          </a:p>
        </p:txBody>
      </p:sp>
      <p:pic>
        <p:nvPicPr>
          <p:cNvPr id="3076" name="Picture 4">
            <a:extLst>
              <a:ext uri="{FF2B5EF4-FFF2-40B4-BE49-F238E27FC236}">
                <a16:creationId xmlns:a16="http://schemas.microsoft.com/office/drawing/2014/main" id="{F535AFF2-8CE1-4181-AED6-F77F79F50AAC}"/>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artisticChalkSketch/>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365501" y="2777990"/>
            <a:ext cx="1553993" cy="11654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490855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p:nvPr/>
        </p:nvSpPr>
        <p:spPr bwMode="auto">
          <a:xfrm>
            <a:off x="0" y="60960"/>
            <a:ext cx="8962390" cy="615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panose="020B0604020202020204" pitchFamily="34" charset="0"/>
              </a:defRPr>
            </a:lvl2pPr>
            <a:lvl3pPr algn="l" defTabSz="895350" rtl="0" eaLnBrk="1" fontAlgn="base" hangingPunct="1">
              <a:spcBef>
                <a:spcPct val="0"/>
              </a:spcBef>
              <a:spcAft>
                <a:spcPct val="0"/>
              </a:spcAft>
              <a:defRPr sz="1900" b="1">
                <a:solidFill>
                  <a:schemeClr val="tx2"/>
                </a:solidFill>
                <a:latin typeface="Arial" panose="020B0604020202020204" pitchFamily="34" charset="0"/>
              </a:defRPr>
            </a:lvl3pPr>
            <a:lvl4pPr algn="l" defTabSz="895350" rtl="0" eaLnBrk="1" fontAlgn="base" hangingPunct="1">
              <a:spcBef>
                <a:spcPct val="0"/>
              </a:spcBef>
              <a:spcAft>
                <a:spcPct val="0"/>
              </a:spcAft>
              <a:defRPr sz="1900" b="1">
                <a:solidFill>
                  <a:schemeClr val="tx2"/>
                </a:solidFill>
                <a:latin typeface="Arial" panose="020B0604020202020204" pitchFamily="34" charset="0"/>
              </a:defRPr>
            </a:lvl4pPr>
            <a:lvl5pPr algn="l" defTabSz="895350" rtl="0" eaLnBrk="1" fontAlgn="base" hangingPunct="1">
              <a:spcBef>
                <a:spcPct val="0"/>
              </a:spcBef>
              <a:spcAft>
                <a:spcPct val="0"/>
              </a:spcAft>
              <a:defRPr sz="1900" b="1">
                <a:solidFill>
                  <a:schemeClr val="tx2"/>
                </a:solidFill>
                <a:latin typeface="Arial" panose="020B0604020202020204" pitchFamily="34" charset="0"/>
              </a:defRPr>
            </a:lvl5pPr>
            <a:lvl6pPr marL="457200" algn="l" defTabSz="895350" rtl="0" eaLnBrk="1" fontAlgn="base" hangingPunct="1">
              <a:spcBef>
                <a:spcPct val="0"/>
              </a:spcBef>
              <a:spcAft>
                <a:spcPct val="0"/>
              </a:spcAft>
              <a:defRPr sz="1900" b="1">
                <a:solidFill>
                  <a:schemeClr val="tx2"/>
                </a:solidFill>
                <a:latin typeface="Arial" panose="020B0604020202020204" pitchFamily="34" charset="0"/>
              </a:defRPr>
            </a:lvl6pPr>
            <a:lvl7pPr marL="914400" algn="l" defTabSz="895350" rtl="0" eaLnBrk="1" fontAlgn="base" hangingPunct="1">
              <a:spcBef>
                <a:spcPct val="0"/>
              </a:spcBef>
              <a:spcAft>
                <a:spcPct val="0"/>
              </a:spcAft>
              <a:defRPr sz="1900" b="1">
                <a:solidFill>
                  <a:schemeClr val="tx2"/>
                </a:solidFill>
                <a:latin typeface="Arial" panose="020B0604020202020204" pitchFamily="34" charset="0"/>
              </a:defRPr>
            </a:lvl7pPr>
            <a:lvl8pPr marL="1371600" algn="l" defTabSz="895350" rtl="0" eaLnBrk="1" fontAlgn="base" hangingPunct="1">
              <a:spcBef>
                <a:spcPct val="0"/>
              </a:spcBef>
              <a:spcAft>
                <a:spcPct val="0"/>
              </a:spcAft>
              <a:defRPr sz="1900" b="1">
                <a:solidFill>
                  <a:schemeClr val="tx2"/>
                </a:solidFill>
                <a:latin typeface="Arial" panose="020B0604020202020204" pitchFamily="34" charset="0"/>
              </a:defRPr>
            </a:lvl8pPr>
            <a:lvl9pPr marL="1828800" algn="l" defTabSz="895350" rtl="0" eaLnBrk="1" fontAlgn="base" hangingPunct="1">
              <a:spcBef>
                <a:spcPct val="0"/>
              </a:spcBef>
              <a:spcAft>
                <a:spcPct val="0"/>
              </a:spcAft>
              <a:defRPr sz="1900" b="1">
                <a:solidFill>
                  <a:schemeClr val="tx2"/>
                </a:solidFill>
                <a:latin typeface="Arial" panose="020B0604020202020204" pitchFamily="34" charset="0"/>
              </a:defRPr>
            </a:lvl9pPr>
          </a:lstStyle>
          <a:p>
            <a:pPr algn="ctr">
              <a:spcBef>
                <a:spcPts val="600"/>
              </a:spcBef>
              <a:spcAft>
                <a:spcPts val="600"/>
              </a:spcAft>
            </a:pPr>
            <a:r>
              <a:rPr lang="en-US" sz="2000" kern="0" dirty="0"/>
              <a:t>How to prevent malaria deaths and eliminate the disease?</a:t>
            </a:r>
            <a:br>
              <a:rPr lang="en-US" sz="2000" kern="0" dirty="0"/>
            </a:br>
            <a:r>
              <a:rPr lang="en-US" sz="2000" kern="0" dirty="0"/>
              <a:t>MALARIA INTERVENTIONS</a:t>
            </a:r>
            <a:endParaRPr lang="en-US" sz="2400" b="0" kern="0" dirty="0"/>
          </a:p>
        </p:txBody>
      </p:sp>
      <p:graphicFrame>
        <p:nvGraphicFramePr>
          <p:cNvPr id="6" name="Diagram 5"/>
          <p:cNvGraphicFramePr/>
          <p:nvPr>
            <p:extLst>
              <p:ext uri="{D42A27DB-BD31-4B8C-83A1-F6EECF244321}">
                <p14:modId xmlns:p14="http://schemas.microsoft.com/office/powerpoint/2010/main" val="1688511501"/>
              </p:ext>
            </p:extLst>
          </p:nvPr>
        </p:nvGraphicFramePr>
        <p:xfrm>
          <a:off x="0" y="1019929"/>
          <a:ext cx="8961438" cy="56405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00810" name="Picture 1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9216" y="1078447"/>
            <a:ext cx="1311966" cy="1311966"/>
          </a:xfrm>
          <a:prstGeom prst="rect">
            <a:avLst/>
          </a:prstGeom>
          <a:noFill/>
          <a:extLst>
            <a:ext uri="{909E8E84-426E-40DD-AFC4-6F175D3DCCD1}">
              <a14:hiddenFill xmlns:a14="http://schemas.microsoft.com/office/drawing/2010/main">
                <a:solidFill>
                  <a:srgbClr val="FFFFFF"/>
                </a:solidFill>
              </a14:hiddenFill>
            </a:ext>
          </a:extLst>
        </p:spPr>
      </p:pic>
      <p:pic>
        <p:nvPicPr>
          <p:cNvPr id="1100812" name="Picture 1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88972" y="1137968"/>
            <a:ext cx="1093241" cy="129869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3558445" y="3384590"/>
            <a:ext cx="2221568" cy="1249164"/>
            <a:chOff x="6265226" y="1372145"/>
            <a:chExt cx="2591004" cy="1446791"/>
          </a:xfrm>
        </p:grpSpPr>
        <p:pic>
          <p:nvPicPr>
            <p:cNvPr id="1100814" name="Picture 14"/>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976438" y="1395357"/>
              <a:ext cx="1879792" cy="13158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11"/>
            <a:stretch>
              <a:fillRect/>
            </a:stretch>
          </p:blipFill>
          <p:spPr>
            <a:xfrm>
              <a:off x="6507998" y="1372145"/>
              <a:ext cx="990436" cy="883362"/>
            </a:xfrm>
            <a:prstGeom prst="rect">
              <a:avLst/>
            </a:prstGeom>
          </p:spPr>
        </p:pic>
        <p:pic>
          <p:nvPicPr>
            <p:cNvPr id="1100818" name="Picture 18"/>
            <p:cNvPicPr>
              <a:picLocks noChangeAspect="1" noChangeArrowheads="1"/>
            </p:cNvPicPr>
            <p:nvPr/>
          </p:nvPicPr>
          <p:blipFill>
            <a:blip r:embed="rId12" cstate="print">
              <a:grayscl/>
              <a:extLst>
                <a:ext uri="{BEBA8EAE-BF5A-486C-A8C5-ECC9F3942E4B}">
                  <a14:imgProps xmlns:a14="http://schemas.microsoft.com/office/drawing/2010/main">
                    <a14:imgLayer r:embed="rId13">
                      <a14:imgEffect>
                        <a14:artisticPhotocopy detail="2"/>
                      </a14:imgEffect>
                      <a14:imgEffect>
                        <a14:backgroundRemoval t="10000" b="90000" l="10000" r="90000"/>
                      </a14:imgEffect>
                      <a14:imgEffect>
                        <a14:brightnessContrast contrast="-40000"/>
                      </a14:imgEffect>
                      <a14:imgEffect>
                        <a14:colorTemperature colorTemp="4700"/>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rot="20274689">
              <a:off x="6265226" y="2147784"/>
              <a:ext cx="1297808" cy="671152"/>
            </a:xfrm>
            <a:prstGeom prst="rect">
              <a:avLst/>
            </a:prstGeom>
            <a:noFill/>
            <a:extLst>
              <a:ext uri="{909E8E84-426E-40DD-AFC4-6F175D3DCCD1}">
                <a14:hiddenFill xmlns:a14="http://schemas.microsoft.com/office/drawing/2010/main">
                  <a:solidFill>
                    <a:srgbClr val="FFFFFF"/>
                  </a:solidFill>
                </a14:hiddenFill>
              </a:ext>
            </a:extLst>
          </p:spPr>
        </p:pic>
      </p:grpSp>
      <p:pic>
        <p:nvPicPr>
          <p:cNvPr id="1100820" name="Picture 20"/>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924797" y="3367905"/>
            <a:ext cx="979547" cy="1117354"/>
          </a:xfrm>
          <a:prstGeom prst="rect">
            <a:avLst/>
          </a:prstGeom>
          <a:noFill/>
          <a:extLst>
            <a:ext uri="{909E8E84-426E-40DD-AFC4-6F175D3DCCD1}">
              <a14:hiddenFill xmlns:a14="http://schemas.microsoft.com/office/drawing/2010/main">
                <a:solidFill>
                  <a:srgbClr val="FFFFFF"/>
                </a:solidFill>
              </a14:hiddenFill>
            </a:ext>
          </a:extLst>
        </p:spPr>
      </p:pic>
      <p:pic>
        <p:nvPicPr>
          <p:cNvPr id="1100822" name="Picture 22"/>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13704"/>
          <a:stretch>
            <a:fillRect/>
          </a:stretch>
        </p:blipFill>
        <p:spPr bwMode="auto">
          <a:xfrm>
            <a:off x="1124338" y="3493151"/>
            <a:ext cx="1145606" cy="988607"/>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6804526" y="1122975"/>
            <a:ext cx="1030406" cy="1184606"/>
            <a:chOff x="6804526" y="3393157"/>
            <a:chExt cx="1030406" cy="1184606"/>
          </a:xfrm>
        </p:grpSpPr>
        <p:pic>
          <p:nvPicPr>
            <p:cNvPr id="12" name="Picture 11"/>
            <p:cNvPicPr>
              <a:picLocks noChangeAspect="1"/>
            </p:cNvPicPr>
            <p:nvPr/>
          </p:nvPicPr>
          <p:blipFill>
            <a:blip r:embed="rId16"/>
            <a:stretch>
              <a:fillRect/>
            </a:stretch>
          </p:blipFill>
          <p:spPr>
            <a:xfrm>
              <a:off x="7073720" y="3393157"/>
              <a:ext cx="586552" cy="1184606"/>
            </a:xfrm>
            <a:prstGeom prst="rect">
              <a:avLst/>
            </a:prstGeom>
          </p:spPr>
        </p:pic>
        <p:sp>
          <p:nvSpPr>
            <p:cNvPr id="13" name="Oval 12"/>
            <p:cNvSpPr/>
            <p:nvPr/>
          </p:nvSpPr>
          <p:spPr>
            <a:xfrm>
              <a:off x="6804526" y="3489409"/>
              <a:ext cx="1030406" cy="1030406"/>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cxnSp>
        <p:nvCxnSpPr>
          <p:cNvPr id="15" name="Straight Connector 14"/>
          <p:cNvCxnSpPr>
            <a:stCxn id="13" idx="1"/>
            <a:endCxn id="13" idx="5"/>
          </p:cNvCxnSpPr>
          <p:nvPr/>
        </p:nvCxnSpPr>
        <p:spPr>
          <a:xfrm>
            <a:off x="6955425" y="1370126"/>
            <a:ext cx="728608" cy="728608"/>
          </a:xfrm>
          <a:prstGeom prst="line">
            <a:avLst/>
          </a:prstGeom>
          <a:ln w="57150"/>
        </p:spPr>
        <p:style>
          <a:lnRef idx="1">
            <a:schemeClr val="dk1"/>
          </a:lnRef>
          <a:fillRef idx="0">
            <a:schemeClr val="dk1"/>
          </a:fillRef>
          <a:effectRef idx="0">
            <a:schemeClr val="dk1"/>
          </a:effectRef>
          <a:fontRef idx="minor">
            <a:schemeClr val="tx1"/>
          </a:fontRef>
        </p:style>
      </p:cxnSp>
      <p:pic>
        <p:nvPicPr>
          <p:cNvPr id="1100824" name="Picture 24"/>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24338" y="5543055"/>
            <a:ext cx="546665" cy="718410"/>
          </a:xfrm>
          <a:prstGeom prst="rect">
            <a:avLst/>
          </a:prstGeom>
          <a:noFill/>
          <a:extLst>
            <a:ext uri="{909E8E84-426E-40DD-AFC4-6F175D3DCCD1}">
              <a14:hiddenFill xmlns:a14="http://schemas.microsoft.com/office/drawing/2010/main">
                <a:solidFill>
                  <a:srgbClr val="FFFFFF"/>
                </a:solidFill>
              </a14:hiddenFill>
            </a:ext>
          </a:extLst>
        </p:spPr>
      </p:pic>
      <p:pic>
        <p:nvPicPr>
          <p:cNvPr id="1100826" name="Picture 26"/>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996628" y="5498888"/>
            <a:ext cx="2541175" cy="76257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CE3DFFA5-15CE-4DD0-82D4-672ED6F2CD0C}"/>
              </a:ext>
            </a:extLst>
          </p:cNvPr>
          <p:cNvSpPr/>
          <p:nvPr/>
        </p:nvSpPr>
        <p:spPr>
          <a:xfrm>
            <a:off x="5780013" y="5418894"/>
            <a:ext cx="3081689" cy="1080097"/>
          </a:xfrm>
          <a:prstGeom prst="rect">
            <a:avLst/>
          </a:prstGeom>
          <a:noFill/>
          <a:ln w="57150">
            <a:solidFill>
              <a:srgbClr val="B9B9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4" name="TextBox 3">
            <a:extLst>
              <a:ext uri="{FF2B5EF4-FFF2-40B4-BE49-F238E27FC236}">
                <a16:creationId xmlns:a16="http://schemas.microsoft.com/office/drawing/2014/main" id="{650C31D6-87D5-46FA-8086-9DC30D81050C}"/>
              </a:ext>
            </a:extLst>
          </p:cNvPr>
          <p:cNvSpPr txBox="1"/>
          <p:nvPr/>
        </p:nvSpPr>
        <p:spPr>
          <a:xfrm>
            <a:off x="5983122" y="6191214"/>
            <a:ext cx="2767748" cy="307777"/>
          </a:xfrm>
          <a:prstGeom prst="rect">
            <a:avLst/>
          </a:prstGeom>
          <a:noFill/>
        </p:spPr>
        <p:txBody>
          <a:bodyPr wrap="square" rtlCol="0">
            <a:spAutoFit/>
          </a:bodyPr>
          <a:lstStyle/>
          <a:p>
            <a:r>
              <a:rPr lang="en-US" sz="1400" i="1" u="sng" dirty="0"/>
              <a:t>New</a:t>
            </a:r>
            <a:r>
              <a:rPr lang="en-US" sz="1400" i="1" dirty="0"/>
              <a:t>: </a:t>
            </a:r>
            <a:r>
              <a:rPr lang="en-US" sz="1400" dirty="0"/>
              <a:t>Vaccines and Gene Drive</a:t>
            </a:r>
          </a:p>
        </p:txBody>
      </p:sp>
      <p:pic>
        <p:nvPicPr>
          <p:cNvPr id="3074" name="Picture 2">
            <a:extLst>
              <a:ext uri="{FF2B5EF4-FFF2-40B4-BE49-F238E27FC236}">
                <a16:creationId xmlns:a16="http://schemas.microsoft.com/office/drawing/2014/main" id="{F8977F55-B67F-4482-B5CC-831233E489E4}"/>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389701" y="5537654"/>
            <a:ext cx="684019" cy="65896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6A5D422B-82FA-4C6A-BDF8-1F72200D4E03}"/>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424563" y="5543055"/>
            <a:ext cx="660363" cy="65896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5DB66-9E3F-4386-9163-D13CF8239E43}"/>
              </a:ext>
            </a:extLst>
          </p:cNvPr>
          <p:cNvSpPr>
            <a:spLocks noGrp="1"/>
          </p:cNvSpPr>
          <p:nvPr>
            <p:ph type="title" idx="4294967295"/>
          </p:nvPr>
        </p:nvSpPr>
        <p:spPr>
          <a:xfrm>
            <a:off x="605639" y="300377"/>
            <a:ext cx="8065294" cy="434375"/>
          </a:xfrm>
        </p:spPr>
        <p:txBody>
          <a:bodyPr>
            <a:noAutofit/>
          </a:bodyPr>
          <a:lstStyle/>
          <a:p>
            <a:r>
              <a:rPr lang="en-US" sz="3000" b="1" dirty="0">
                <a:latin typeface="Arial" panose="020B0604020202020204" pitchFamily="34" charset="0"/>
                <a:cs typeface="Arial" panose="020B0604020202020204" pitchFamily="34" charset="0"/>
              </a:rPr>
              <a:t>Key terms</a:t>
            </a:r>
          </a:p>
        </p:txBody>
      </p:sp>
      <p:sp>
        <p:nvSpPr>
          <p:cNvPr id="3" name="Title 1">
            <a:extLst>
              <a:ext uri="{FF2B5EF4-FFF2-40B4-BE49-F238E27FC236}">
                <a16:creationId xmlns:a16="http://schemas.microsoft.com/office/drawing/2014/main" id="{B3E2BBA0-7A52-4EE9-ABBC-9A3A95C671B6}"/>
              </a:ext>
            </a:extLst>
          </p:cNvPr>
          <p:cNvSpPr txBox="1">
            <a:spLocks/>
          </p:cNvSpPr>
          <p:nvPr/>
        </p:nvSpPr>
        <p:spPr bwMode="auto">
          <a:xfrm>
            <a:off x="415395" y="993258"/>
            <a:ext cx="7750159" cy="66787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200" b="0" i="0" dirty="0">
                <a:solidFill>
                  <a:srgbClr val="3C4245"/>
                </a:solidFill>
                <a:effectLst/>
                <a:latin typeface="Arial" panose="020B0604020202020204" pitchFamily="34" charset="0"/>
              </a:rPr>
              <a:t>LLIN – Long-lasting insecticide-treated nets</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200" b="0" kern="0" dirty="0">
                <a:solidFill>
                  <a:srgbClr val="3C4245"/>
                </a:solidFill>
                <a:latin typeface="Arial" panose="020B0604020202020204" pitchFamily="34" charset="0"/>
              </a:rPr>
              <a:t>RDT – Rapid Diagnostic Test</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200" b="0" kern="0" dirty="0">
                <a:solidFill>
                  <a:srgbClr val="3C4245"/>
                </a:solidFill>
                <a:latin typeface="Arial" panose="020B0604020202020204" pitchFamily="34" charset="0"/>
              </a:rPr>
              <a:t>ACT - Artemisinin-based combination therapy</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200" b="0" kern="0" dirty="0">
                <a:solidFill>
                  <a:srgbClr val="3C4245"/>
                </a:solidFill>
                <a:latin typeface="Arial" panose="020B0604020202020204" pitchFamily="34" charset="0"/>
              </a:rPr>
              <a:t>IRS – Indoor residual spraying</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200" b="0" kern="0" dirty="0">
                <a:solidFill>
                  <a:srgbClr val="3C4245"/>
                </a:solidFill>
                <a:latin typeface="Arial" panose="020B0604020202020204" pitchFamily="34" charset="0"/>
              </a:rPr>
              <a:t>IPT - Intermittent preventive treatment of malaria in pregnancy</a:t>
            </a:r>
          </a:p>
          <a:p>
            <a:pPr marL="461962" indent="-285750">
              <a:spcBef>
                <a:spcPts val="1200"/>
              </a:spcBef>
              <a:buFont typeface="Arial" panose="020B0604020202020204" pitchFamily="34" charset="0"/>
              <a:buChar char="•"/>
              <a:defRPr/>
            </a:pPr>
            <a:r>
              <a:rPr lang="en-US" sz="2200" b="0" kern="0" dirty="0">
                <a:solidFill>
                  <a:srgbClr val="3C4245"/>
                </a:solidFill>
                <a:latin typeface="Arial" panose="020B0604020202020204" pitchFamily="34" charset="0"/>
              </a:rPr>
              <a:t>ANC – Antenatal care</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200" b="0" kern="0" dirty="0">
                <a:solidFill>
                  <a:srgbClr val="3C4245"/>
                </a:solidFill>
                <a:latin typeface="Arial" panose="020B0604020202020204" pitchFamily="34" charset="0"/>
              </a:rPr>
              <a:t>Incidence – new malaria cases</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200" b="0" kern="0" dirty="0">
                <a:solidFill>
                  <a:srgbClr val="3C4245"/>
                </a:solidFill>
                <a:latin typeface="Arial" panose="020B0604020202020204" pitchFamily="34" charset="0"/>
              </a:rPr>
              <a:t>SMC - Seasonal malaria chemoprevention (</a:t>
            </a:r>
            <a:r>
              <a:rPr lang="en-US" sz="2200" b="0" i="0" dirty="0">
                <a:solidFill>
                  <a:srgbClr val="000000"/>
                </a:solidFill>
                <a:effectLst/>
                <a:latin typeface="helvetica neue"/>
              </a:rPr>
              <a:t>antimalarial drugs to children aged 3-59 months during peak malaria season)</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200" b="0" kern="0" dirty="0">
                <a:solidFill>
                  <a:srgbClr val="000000"/>
                </a:solidFill>
                <a:latin typeface="helvetica neue"/>
              </a:rPr>
              <a:t>BCC – </a:t>
            </a:r>
            <a:r>
              <a:rPr lang="en-US" sz="2200" b="0" kern="0" dirty="0" err="1">
                <a:solidFill>
                  <a:srgbClr val="000000"/>
                </a:solidFill>
                <a:latin typeface="helvetica neue"/>
              </a:rPr>
              <a:t>Behaviour</a:t>
            </a:r>
            <a:r>
              <a:rPr lang="en-US" sz="2200" b="0" kern="0" dirty="0">
                <a:solidFill>
                  <a:srgbClr val="000000"/>
                </a:solidFill>
                <a:latin typeface="helvetica neue"/>
              </a:rPr>
              <a:t> Change Communication</a:t>
            </a:r>
            <a:endParaRPr lang="en-US" sz="2200" b="0" kern="0" dirty="0">
              <a:solidFill>
                <a:srgbClr val="3C4245"/>
              </a:solidFill>
              <a:latin typeface="Arial" panose="020B0604020202020204" pitchFamily="34" charset="0"/>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1600" b="0" kern="0" dirty="0">
              <a:solidFill>
                <a:srgbClr val="3C4245"/>
              </a:solidFill>
              <a:latin typeface="Arial" panose="020B0604020202020204" pitchFamily="34" charset="0"/>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2800" b="0" kern="0" dirty="0">
              <a:solidFill>
                <a:srgbClr val="38529C"/>
              </a:solidFill>
              <a:latin typeface="Calibri Light" panose="020F0302020204030204"/>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1600" b="0" i="0" dirty="0">
              <a:solidFill>
                <a:srgbClr val="3C4245"/>
              </a:solidFill>
              <a:effectLst/>
              <a:latin typeface="Arial" panose="020B0604020202020204" pitchFamily="34" charset="0"/>
            </a:endParaRPr>
          </a:p>
        </p:txBody>
      </p:sp>
    </p:spTree>
    <p:extLst>
      <p:ext uri="{BB962C8B-B14F-4D97-AF65-F5344CB8AC3E}">
        <p14:creationId xmlns:p14="http://schemas.microsoft.com/office/powerpoint/2010/main" val="41807098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5DB66-9E3F-4386-9163-D13CF8239E43}"/>
              </a:ext>
            </a:extLst>
          </p:cNvPr>
          <p:cNvSpPr>
            <a:spLocks noGrp="1"/>
          </p:cNvSpPr>
          <p:nvPr>
            <p:ph type="title" idx="4294967295"/>
          </p:nvPr>
        </p:nvSpPr>
        <p:spPr>
          <a:xfrm>
            <a:off x="1076861" y="962657"/>
            <a:ext cx="8065294" cy="434375"/>
          </a:xfrm>
        </p:spPr>
        <p:txBody>
          <a:bodyPr>
            <a:noAutofit/>
          </a:bodyPr>
          <a:lstStyle/>
          <a:p>
            <a:r>
              <a:rPr lang="en-US" sz="3000" b="1" dirty="0">
                <a:latin typeface="Arial" panose="020B0604020202020204" pitchFamily="34" charset="0"/>
                <a:cs typeface="Arial" panose="020B0604020202020204" pitchFamily="34" charset="0"/>
              </a:rPr>
              <a:t>Challenges in malaria progress</a:t>
            </a:r>
          </a:p>
        </p:txBody>
      </p:sp>
      <p:sp>
        <p:nvSpPr>
          <p:cNvPr id="3" name="Title 1">
            <a:extLst>
              <a:ext uri="{FF2B5EF4-FFF2-40B4-BE49-F238E27FC236}">
                <a16:creationId xmlns:a16="http://schemas.microsoft.com/office/drawing/2014/main" id="{B3E2BBA0-7A52-4EE9-ABBC-9A3A95C671B6}"/>
              </a:ext>
            </a:extLst>
          </p:cNvPr>
          <p:cNvSpPr txBox="1">
            <a:spLocks/>
          </p:cNvSpPr>
          <p:nvPr/>
        </p:nvSpPr>
        <p:spPr bwMode="auto">
          <a:xfrm>
            <a:off x="697693" y="1674455"/>
            <a:ext cx="7750159" cy="5478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400" b="0" i="0" dirty="0">
                <a:solidFill>
                  <a:srgbClr val="3C4245"/>
                </a:solidFill>
                <a:effectLst/>
                <a:latin typeface="Arial" panose="020B0604020202020204" pitchFamily="34" charset="0"/>
              </a:rPr>
              <a:t>Insecticide resistance (up to 4 classes)</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400" b="0" dirty="0">
                <a:solidFill>
                  <a:srgbClr val="3C4245"/>
                </a:solidFill>
                <a:latin typeface="Arial" panose="020B0604020202020204" pitchFamily="34" charset="0"/>
              </a:rPr>
              <a:t>Mobilising and sustaining domestic and external financing</a:t>
            </a:r>
            <a:endParaRPr lang="en-US" sz="2400" b="0" i="0" dirty="0">
              <a:solidFill>
                <a:srgbClr val="3C4245"/>
              </a:solidFill>
              <a:effectLst/>
              <a:latin typeface="Arial" panose="020B0604020202020204" pitchFamily="34" charset="0"/>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400" b="0" kern="0" dirty="0">
                <a:solidFill>
                  <a:srgbClr val="3C4245"/>
                </a:solidFill>
                <a:latin typeface="Arial" panose="020B0604020202020204" pitchFamily="34" charset="0"/>
              </a:rPr>
              <a:t>Sustaining interventions in the context of competing priorities like COVID-19</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400" b="0" kern="0" dirty="0">
                <a:solidFill>
                  <a:srgbClr val="3C4245"/>
                </a:solidFill>
                <a:latin typeface="Arial" panose="020B0604020202020204" pitchFamily="34" charset="0"/>
              </a:rPr>
              <a:t>Cross-border collaboration and coordination</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400" b="0" kern="0" dirty="0">
                <a:solidFill>
                  <a:srgbClr val="3C4245"/>
                </a:solidFill>
                <a:latin typeface="Arial" panose="020B0604020202020204" pitchFamily="34" charset="0"/>
              </a:rPr>
              <a:t>Supply-chain management challenges</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400" b="0" kern="0" dirty="0">
                <a:solidFill>
                  <a:srgbClr val="3C4245"/>
                </a:solidFill>
                <a:latin typeface="Arial" panose="020B0604020202020204" pitchFamily="34" charset="0"/>
              </a:rPr>
              <a:t>Local </a:t>
            </a:r>
            <a:r>
              <a:rPr lang="en-US" sz="2400" b="0" kern="0" dirty="0" err="1">
                <a:solidFill>
                  <a:srgbClr val="3C4245"/>
                </a:solidFill>
                <a:latin typeface="Arial" panose="020B0604020202020204" pitchFamily="34" charset="0"/>
              </a:rPr>
              <a:t>behaviours</a:t>
            </a:r>
            <a:r>
              <a:rPr lang="en-US" sz="2400" b="0" kern="0" dirty="0">
                <a:solidFill>
                  <a:srgbClr val="3C4245"/>
                </a:solidFill>
                <a:latin typeface="Arial" panose="020B0604020202020204" pitchFamily="34" charset="0"/>
              </a:rPr>
              <a:t> and attitudes towards prevention and treatment</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1600" b="0" kern="0" dirty="0">
              <a:solidFill>
                <a:srgbClr val="3C4245"/>
              </a:solidFill>
              <a:latin typeface="Arial" panose="020B0604020202020204" pitchFamily="34" charset="0"/>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2800" b="0" kern="0" dirty="0">
              <a:solidFill>
                <a:srgbClr val="38529C"/>
              </a:solidFill>
              <a:latin typeface="Calibri Light" panose="020F0302020204030204"/>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1600" b="0" i="0" dirty="0">
              <a:solidFill>
                <a:srgbClr val="3C4245"/>
              </a:solidFill>
              <a:effectLst/>
              <a:latin typeface="Arial" panose="020B0604020202020204" pitchFamily="34" charset="0"/>
            </a:endParaRPr>
          </a:p>
        </p:txBody>
      </p:sp>
    </p:spTree>
    <p:extLst>
      <p:ext uri="{BB962C8B-B14F-4D97-AF65-F5344CB8AC3E}">
        <p14:creationId xmlns:p14="http://schemas.microsoft.com/office/powerpoint/2010/main" val="27619570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7"/>
          </p:nvPr>
        </p:nvSpPr>
        <p:spPr>
          <a:xfrm>
            <a:off x="3051058" y="1225976"/>
            <a:ext cx="5792233" cy="1730730"/>
          </a:xfrm>
        </p:spPr>
        <p:txBody>
          <a:bodyPr wrap="square"/>
          <a:lstStyle/>
          <a:p>
            <a:pPr marL="429895" indent="-285750" defTabSz="173355">
              <a:buSzTx/>
              <a:buFont typeface="Arial" panose="020B0604020202020204" pitchFamily="34" charset="0"/>
              <a:buChar char="•"/>
              <a:defRPr/>
            </a:pPr>
            <a:r>
              <a:rPr lang="en-US" altLang="en-US" sz="1600" dirty="0">
                <a:sym typeface="+mn-ea"/>
              </a:rPr>
              <a:t>Pan-African campaign that mobilizes and empowers communities to take ownership over the fight to end malaria. </a:t>
            </a:r>
          </a:p>
          <a:p>
            <a:pPr marL="429895" indent="-285750" defTabSz="173355">
              <a:buSzTx/>
              <a:buFont typeface="Arial" panose="020B0604020202020204" pitchFamily="34" charset="0"/>
              <a:buChar char="•"/>
              <a:defRPr/>
            </a:pPr>
            <a:r>
              <a:rPr lang="en-US" altLang="en-US" sz="1600" dirty="0">
                <a:sym typeface="+mn-ea"/>
              </a:rPr>
              <a:t>Aims to drive action from political, private sector and community leaders to accelerate malaria prevention and treatment and save lives.</a:t>
            </a:r>
          </a:p>
          <a:p>
            <a:pPr marL="429895" indent="-285750" defTabSz="173355">
              <a:buSzTx/>
              <a:buFont typeface="Arial" panose="020B0604020202020204" pitchFamily="34" charset="0"/>
              <a:buChar char="•"/>
              <a:defRPr/>
            </a:pPr>
            <a:r>
              <a:rPr lang="en-US" altLang="en-US" sz="1600" dirty="0">
                <a:sym typeface="Helvetica Neue"/>
              </a:rPr>
              <a:t>Implemented by countries and co-led by the African Union Commission and the RBM Partnership to End Malaria</a:t>
            </a:r>
          </a:p>
        </p:txBody>
      </p:sp>
      <p:sp>
        <p:nvSpPr>
          <p:cNvPr id="2" name="Title 1"/>
          <p:cNvSpPr>
            <a:spLocks noGrp="1"/>
          </p:cNvSpPr>
          <p:nvPr>
            <p:ph type="ctrTitle" idx="4294967295"/>
          </p:nvPr>
        </p:nvSpPr>
        <p:spPr>
          <a:xfrm>
            <a:off x="915193" y="278999"/>
            <a:ext cx="7129463" cy="482600"/>
          </a:xfrm>
        </p:spPr>
        <p:txBody>
          <a:bodyPr wrap="square">
            <a:noAutofit/>
          </a:bodyPr>
          <a:lstStyle/>
          <a:p>
            <a:pPr algn="ctr"/>
            <a:r>
              <a:rPr lang="en-US" sz="3200" dirty="0">
                <a:solidFill>
                  <a:schemeClr val="tx1"/>
                </a:solidFill>
                <a:latin typeface="Arial" panose="020B0604020202020204" pitchFamily="34" charset="0"/>
                <a:cs typeface="Arial" panose="020B0604020202020204" pitchFamily="34" charset="0"/>
                <a:sym typeface="Helvetica Neue"/>
              </a:rPr>
              <a:t>Continent wide initiatives</a:t>
            </a:r>
            <a:endParaRPr lang="en-US" sz="3200" dirty="0">
              <a:solidFill>
                <a:schemeClr val="tx1"/>
              </a:solidFill>
              <a:latin typeface="Arial" panose="020B0604020202020204" pitchFamily="34" charset="0"/>
              <a:cs typeface="Arial" panose="020B0604020202020204" pitchFamily="34" charset="0"/>
            </a:endParaRPr>
          </a:p>
        </p:txBody>
      </p:sp>
      <p:sp>
        <p:nvSpPr>
          <p:cNvPr id="5" name="AutoShape 6"/>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pic>
        <p:nvPicPr>
          <p:cNvPr id="8" name="Picture 7">
            <a:extLst>
              <a:ext uri="{FF2B5EF4-FFF2-40B4-BE49-F238E27FC236}">
                <a16:creationId xmlns:a16="http://schemas.microsoft.com/office/drawing/2014/main" id="{A3169E2E-8574-4C8A-9C98-5D08B81B85E2}"/>
              </a:ext>
            </a:extLst>
          </p:cNvPr>
          <p:cNvPicPr>
            <a:picLocks noChangeAspect="1"/>
          </p:cNvPicPr>
          <p:nvPr/>
        </p:nvPicPr>
        <p:blipFill>
          <a:blip r:embed="rId3"/>
          <a:stretch>
            <a:fillRect/>
          </a:stretch>
        </p:blipFill>
        <p:spPr>
          <a:xfrm>
            <a:off x="3504847" y="3513138"/>
            <a:ext cx="5456591" cy="3127003"/>
          </a:xfrm>
          <a:prstGeom prst="rect">
            <a:avLst/>
          </a:prstGeom>
        </p:spPr>
      </p:pic>
      <p:pic>
        <p:nvPicPr>
          <p:cNvPr id="1026" name="Picture 2">
            <a:extLst>
              <a:ext uri="{FF2B5EF4-FFF2-40B4-BE49-F238E27FC236}">
                <a16:creationId xmlns:a16="http://schemas.microsoft.com/office/drawing/2014/main" id="{480DA2FF-E110-41C3-BBA8-D617578483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395" y="882291"/>
            <a:ext cx="2183315" cy="2183315"/>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FB826AD0-28DF-442A-AB75-A10D3F06C50D}"/>
              </a:ext>
            </a:extLst>
          </p:cNvPr>
          <p:cNvCxnSpPr>
            <a:cxnSpLocks/>
          </p:cNvCxnSpPr>
          <p:nvPr/>
        </p:nvCxnSpPr>
        <p:spPr>
          <a:xfrm>
            <a:off x="0" y="3421083"/>
            <a:ext cx="8961438" cy="0"/>
          </a:xfrm>
          <a:prstGeom prst="line">
            <a:avLst/>
          </a:prstGeom>
          <a:ln w="38100"/>
        </p:spPr>
        <p:style>
          <a:lnRef idx="1">
            <a:schemeClr val="dk1"/>
          </a:lnRef>
          <a:fillRef idx="0">
            <a:schemeClr val="dk1"/>
          </a:fillRef>
          <a:effectRef idx="0">
            <a:schemeClr val="dk1"/>
          </a:effectRef>
          <a:fontRef idx="minor">
            <a:schemeClr val="tx1"/>
          </a:fontRef>
        </p:style>
      </p:cxnSp>
      <p:sp>
        <p:nvSpPr>
          <p:cNvPr id="12" name="Title 1">
            <a:extLst>
              <a:ext uri="{FF2B5EF4-FFF2-40B4-BE49-F238E27FC236}">
                <a16:creationId xmlns:a16="http://schemas.microsoft.com/office/drawing/2014/main" id="{5A39DF66-2960-4850-9F6F-EFF03821F06B}"/>
              </a:ext>
            </a:extLst>
          </p:cNvPr>
          <p:cNvSpPr txBox="1">
            <a:spLocks/>
          </p:cNvSpPr>
          <p:nvPr/>
        </p:nvSpPr>
        <p:spPr>
          <a:xfrm>
            <a:off x="152190" y="4762251"/>
            <a:ext cx="3295704" cy="482600"/>
          </a:xfrm>
          <a:prstGeom prst="rect">
            <a:avLst/>
          </a:prstGeom>
        </p:spPr>
        <p:txBody>
          <a:bodyPr vert="horz" wrap="square" lIns="91440" tIns="45720" rIns="91440" bIns="45720" rtlCol="0" anchor="ctr">
            <a:noAutofit/>
          </a:bodyPr>
          <a:lstStyle>
            <a:lvl1pPr algn="l" defTabSz="672067" rtl="0" eaLnBrk="1" latinLnBrk="0" hangingPunct="1">
              <a:lnSpc>
                <a:spcPct val="90000"/>
              </a:lnSpc>
              <a:spcBef>
                <a:spcPct val="0"/>
              </a:spcBef>
              <a:buNone/>
              <a:defRPr sz="3234" kern="1200">
                <a:solidFill>
                  <a:schemeClr val="tx1"/>
                </a:solidFill>
                <a:latin typeface="+mj-lt"/>
                <a:ea typeface="+mj-ea"/>
                <a:cs typeface="+mj-cs"/>
              </a:defRPr>
            </a:lvl1pPr>
          </a:lstStyle>
          <a:p>
            <a:pPr algn="ctr" fontAlgn="auto">
              <a:spcAft>
                <a:spcPts val="0"/>
              </a:spcAft>
            </a:pPr>
            <a:r>
              <a:rPr lang="en-US" sz="3200" dirty="0">
                <a:latin typeface="Arial" panose="020B0604020202020204" pitchFamily="34" charset="0"/>
                <a:cs typeface="Arial" panose="020B0604020202020204" pitchFamily="34" charset="0"/>
                <a:sym typeface="Helvetica Neue"/>
              </a:rPr>
              <a:t>HBHI</a:t>
            </a:r>
          </a:p>
          <a:p>
            <a:pPr algn="ctr" fontAlgn="auto">
              <a:spcAft>
                <a:spcPts val="0"/>
              </a:spcAft>
            </a:pPr>
            <a:r>
              <a:rPr lang="en-US" sz="1500" dirty="0">
                <a:latin typeface="Arial" panose="020B0604020202020204" pitchFamily="34" charset="0"/>
                <a:cs typeface="Arial" panose="020B0604020202020204" pitchFamily="34" charset="0"/>
                <a:sym typeface="Helvetica Neue"/>
              </a:rPr>
              <a:t>(“High Burden High Impact” approach in 10 African countries) </a:t>
            </a:r>
          </a:p>
          <a:p>
            <a:pPr algn="ctr" fontAlgn="auto">
              <a:spcAft>
                <a:spcPts val="0"/>
              </a:spcAft>
            </a:pPr>
            <a:endParaRPr lang="en-US" sz="1500" dirty="0">
              <a:solidFill>
                <a:srgbClr val="000000"/>
              </a:solidFill>
              <a:latin typeface="Arial" panose="020B0604020202020204" pitchFamily="34" charset="0"/>
              <a:cs typeface="Arial" panose="020B0604020202020204" pitchFamily="34" charset="0"/>
              <a:sym typeface="Helvetica Neue"/>
            </a:endParaRPr>
          </a:p>
          <a:p>
            <a:pPr algn="ctr" fontAlgn="auto">
              <a:spcAft>
                <a:spcPts val="0"/>
              </a:spcAft>
            </a:pPr>
            <a:r>
              <a:rPr lang="en-US" sz="1500" dirty="0">
                <a:solidFill>
                  <a:srgbClr val="000000"/>
                </a:solidFill>
                <a:latin typeface="helvetica neue"/>
                <a:cs typeface="Arial" panose="020B0604020202020204" pitchFamily="34" charset="0"/>
                <a:sym typeface="Helvetica Neue"/>
              </a:rPr>
              <a:t>C</a:t>
            </a:r>
            <a:r>
              <a:rPr lang="en-US" sz="1500" b="0" i="0" dirty="0">
                <a:solidFill>
                  <a:srgbClr val="000000"/>
                </a:solidFill>
                <a:effectLst/>
                <a:latin typeface="helvetica neue"/>
              </a:rPr>
              <a:t>ountry-led response catalyzed by WHO and the RBM Partnership – to reignite the pace of progress in the global malaria fight.</a:t>
            </a:r>
            <a:endParaRPr lang="en-US" sz="1500" dirty="0">
              <a:latin typeface="Arial" panose="020B0604020202020204" pitchFamily="34" charset="0"/>
              <a:cs typeface="Arial" panose="020B0604020202020204" pitchFamily="34" charset="0"/>
            </a:endParaRP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893371" y="1927788"/>
            <a:ext cx="7174697" cy="3544565"/>
          </a:xfrm>
          <a:prstGeom prst="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p>
        </p:txBody>
      </p:sp>
      <p:grpSp>
        <p:nvGrpSpPr>
          <p:cNvPr id="7" name="Group 6"/>
          <p:cNvGrpSpPr/>
          <p:nvPr/>
        </p:nvGrpSpPr>
        <p:grpSpPr>
          <a:xfrm>
            <a:off x="1078780" y="4627295"/>
            <a:ext cx="6760374" cy="626144"/>
            <a:chOff x="1467676" y="4083153"/>
            <a:chExt cx="9197462" cy="851866"/>
          </a:xfrm>
        </p:grpSpPr>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74414" y="4083153"/>
              <a:ext cx="580049" cy="580049"/>
            </a:xfrm>
            <a:prstGeom prst="rect">
              <a:avLst/>
            </a:prstGeom>
          </p:spPr>
        </p:pic>
        <p:sp>
          <p:nvSpPr>
            <p:cNvPr id="20" name="TextBox 19"/>
            <p:cNvSpPr txBox="1"/>
            <p:nvPr/>
          </p:nvSpPr>
          <p:spPr>
            <a:xfrm>
              <a:off x="1467676" y="4719548"/>
              <a:ext cx="2459420" cy="215471"/>
            </a:xfrm>
            <a:prstGeom prst="rect">
              <a:avLst/>
            </a:prstGeom>
          </p:spPr>
          <p:txBody>
            <a:bodyPr vert="horz" wrap="square" lIns="0" tIns="0" rIns="0" bIns="0" rtlCol="0">
              <a:spAutoFit/>
            </a:bodyPr>
            <a:lstStyle/>
            <a:p>
              <a:pPr algn="ctr"/>
              <a:r>
                <a:rPr lang="en-ZA" sz="1029" i="1" dirty="0">
                  <a:latin typeface="Arial" panose="020B0604020202020204" pitchFamily="34" charset="0"/>
                  <a:cs typeface="Arial" panose="020B0604020202020204" pitchFamily="34" charset="0"/>
                </a:rPr>
                <a:t>Sub-regional Coordination</a:t>
              </a:r>
            </a:p>
          </p:txBody>
        </p:sp>
        <p:sp>
          <p:nvSpPr>
            <p:cNvPr id="24" name="TextBox 23"/>
            <p:cNvSpPr txBox="1"/>
            <p:nvPr/>
          </p:nvSpPr>
          <p:spPr>
            <a:xfrm>
              <a:off x="4449272" y="4277309"/>
              <a:ext cx="6215866" cy="430941"/>
            </a:xfrm>
            <a:prstGeom prst="rect">
              <a:avLst/>
            </a:prstGeom>
          </p:spPr>
          <p:txBody>
            <a:bodyPr vert="horz" wrap="square" lIns="0" tIns="0" rIns="0" bIns="0" rtlCol="0" anchor="ctr">
              <a:spAutoFit/>
            </a:bodyPr>
            <a:lstStyle/>
            <a:p>
              <a:r>
                <a:rPr lang="en-ZA" sz="1029" i="1" dirty="0">
                  <a:latin typeface="Arial" panose="020B0604020202020204" pitchFamily="34" charset="0"/>
                  <a:cs typeface="Arial" panose="020B0604020202020204" pitchFamily="34" charset="0"/>
                </a:rPr>
                <a:t>Work with Africa’s Regional Economic Communities and Heads of State and Government to drive progress at the sub-regional level</a:t>
              </a:r>
            </a:p>
          </p:txBody>
        </p:sp>
      </p:grpSp>
      <p:sp>
        <p:nvSpPr>
          <p:cNvPr id="6" name="Text Placeholder 5">
            <a:extLst>
              <a:ext uri="{FF2B5EF4-FFF2-40B4-BE49-F238E27FC236}">
                <a16:creationId xmlns:a16="http://schemas.microsoft.com/office/drawing/2014/main" id="{943AD036-9E28-4865-842B-E5237C2AF0C7}"/>
              </a:ext>
            </a:extLst>
          </p:cNvPr>
          <p:cNvSpPr>
            <a:spLocks noGrp="1"/>
          </p:cNvSpPr>
          <p:nvPr>
            <p:ph type="body" sz="quarter" idx="17"/>
          </p:nvPr>
        </p:nvSpPr>
        <p:spPr/>
        <p:txBody>
          <a:bodyPr/>
          <a:lstStyle/>
          <a:p>
            <a:endParaRPr lang="en-US"/>
          </a:p>
        </p:txBody>
      </p:sp>
      <p:sp>
        <p:nvSpPr>
          <p:cNvPr id="11" name="Title 10"/>
          <p:cNvSpPr>
            <a:spLocks noGrp="1"/>
          </p:cNvSpPr>
          <p:nvPr>
            <p:ph type="title" idx="4294967295"/>
          </p:nvPr>
        </p:nvSpPr>
        <p:spPr>
          <a:xfrm>
            <a:off x="803936" y="956833"/>
            <a:ext cx="7156450" cy="285750"/>
          </a:xfrm>
        </p:spPr>
        <p:txBody>
          <a:bodyPr>
            <a:noAutofit/>
          </a:bodyPr>
          <a:lstStyle/>
          <a:p>
            <a:r>
              <a:rPr lang="en-US" sz="2000" dirty="0">
                <a:latin typeface="Arial" panose="020B0604020202020204" pitchFamily="34" charset="0"/>
                <a:cs typeface="Arial" panose="020B0604020202020204" pitchFamily="34" charset="0"/>
              </a:rPr>
              <a:t>Overview of H.E. President Kenyatta’s Legacy Agenda</a:t>
            </a:r>
            <a:br>
              <a:rPr lang="en-US" sz="2000"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ALMA Chair</a:t>
            </a:r>
            <a:endParaRPr lang="en-ZA" sz="20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4294967295"/>
          </p:nvPr>
        </p:nvSpPr>
        <p:spPr>
          <a:xfrm>
            <a:off x="8713788" y="573088"/>
            <a:ext cx="247650" cy="112712"/>
          </a:xfrm>
        </p:spPr>
        <p:txBody>
          <a:bodyPr/>
          <a:lstStyle/>
          <a:p>
            <a:pPr algn="ctr"/>
            <a:fld id="{CDD7DD23-A34B-405D-8F36-5709C0D1BF0C}" type="slidenum">
              <a:rPr lang="en-ZA" smtClean="0"/>
              <a:pPr algn="ctr"/>
              <a:t>17</a:t>
            </a:fld>
            <a:endParaRPr lang="en-ZA" dirty="0"/>
          </a:p>
        </p:txBody>
      </p:sp>
      <p:sp>
        <p:nvSpPr>
          <p:cNvPr id="15" name="TextBox 14"/>
          <p:cNvSpPr txBox="1"/>
          <p:nvPr/>
        </p:nvSpPr>
        <p:spPr>
          <a:xfrm>
            <a:off x="1078781" y="2611588"/>
            <a:ext cx="1807738" cy="158377"/>
          </a:xfrm>
          <a:prstGeom prst="rect">
            <a:avLst/>
          </a:prstGeom>
        </p:spPr>
        <p:txBody>
          <a:bodyPr vert="horz" wrap="square" lIns="0" tIns="0" rIns="0" bIns="0" rtlCol="0">
            <a:spAutoFit/>
          </a:bodyPr>
          <a:lstStyle/>
          <a:p>
            <a:pPr algn="ctr"/>
            <a:r>
              <a:rPr lang="en-ZA" sz="1029" i="1" dirty="0">
                <a:latin typeface="Arial" panose="020B0604020202020204" pitchFamily="34" charset="0"/>
                <a:cs typeface="Arial" panose="020B0604020202020204" pitchFamily="34" charset="0"/>
              </a:rPr>
              <a:t>Digitalisation &amp; real-time data</a:t>
            </a: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6270" y="2022890"/>
            <a:ext cx="532758" cy="532758"/>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16270" y="2930257"/>
            <a:ext cx="484326" cy="484326"/>
          </a:xfrm>
          <a:prstGeom prst="rect">
            <a:avLst/>
          </a:prstGeom>
        </p:spPr>
      </p:pic>
      <p:sp>
        <p:nvSpPr>
          <p:cNvPr id="18" name="TextBox 17"/>
          <p:cNvSpPr txBox="1"/>
          <p:nvPr/>
        </p:nvSpPr>
        <p:spPr>
          <a:xfrm>
            <a:off x="1078781" y="3483427"/>
            <a:ext cx="1807738" cy="158377"/>
          </a:xfrm>
          <a:prstGeom prst="rect">
            <a:avLst/>
          </a:prstGeom>
        </p:spPr>
        <p:txBody>
          <a:bodyPr vert="horz" wrap="square" lIns="0" tIns="0" rIns="0" bIns="0" rtlCol="0">
            <a:spAutoFit/>
          </a:bodyPr>
          <a:lstStyle/>
          <a:p>
            <a:pPr algn="ctr"/>
            <a:r>
              <a:rPr lang="en-ZA" sz="1029" i="1" dirty="0">
                <a:latin typeface="Arial" panose="020B0604020202020204" pitchFamily="34" charset="0"/>
                <a:cs typeface="Arial" panose="020B0604020202020204" pitchFamily="34" charset="0"/>
              </a:rPr>
              <a:t>End Malaria Councils &amp; Funds</a:t>
            </a:r>
          </a:p>
        </p:txBody>
      </p:sp>
      <p:sp>
        <p:nvSpPr>
          <p:cNvPr id="2" name="TextBox 1"/>
          <p:cNvSpPr txBox="1"/>
          <p:nvPr/>
        </p:nvSpPr>
        <p:spPr>
          <a:xfrm>
            <a:off x="3270332" y="2238935"/>
            <a:ext cx="4568823" cy="316753"/>
          </a:xfrm>
          <a:prstGeom prst="rect">
            <a:avLst/>
          </a:prstGeom>
        </p:spPr>
        <p:txBody>
          <a:bodyPr vert="horz" wrap="square" lIns="0" tIns="0" rIns="0" bIns="0" rtlCol="0">
            <a:spAutoFit/>
          </a:bodyPr>
          <a:lstStyle/>
          <a:p>
            <a:r>
              <a:rPr lang="en-ZA" sz="1029" i="1" dirty="0">
                <a:latin typeface="Arial" panose="020B0604020202020204" pitchFamily="34" charset="0"/>
                <a:cs typeface="Arial" panose="020B0604020202020204" pitchFamily="34" charset="0"/>
              </a:rPr>
              <a:t>Improve access to malaria data through a digital platform and by using country malaria scorecards so that all citizens are aware and empowered to act</a:t>
            </a:r>
          </a:p>
        </p:txBody>
      </p:sp>
      <p:sp>
        <p:nvSpPr>
          <p:cNvPr id="23" name="TextBox 22"/>
          <p:cNvSpPr txBox="1"/>
          <p:nvPr/>
        </p:nvSpPr>
        <p:spPr>
          <a:xfrm>
            <a:off x="3270332" y="3028217"/>
            <a:ext cx="4568823" cy="475130"/>
          </a:xfrm>
          <a:prstGeom prst="rect">
            <a:avLst/>
          </a:prstGeom>
        </p:spPr>
        <p:txBody>
          <a:bodyPr vert="horz" wrap="square" lIns="0" tIns="0" rIns="0" bIns="0" rtlCol="0">
            <a:spAutoFit/>
          </a:bodyPr>
          <a:lstStyle/>
          <a:p>
            <a:r>
              <a:rPr lang="en-ZA" sz="1029" i="1" dirty="0">
                <a:latin typeface="Arial" panose="020B0604020202020204" pitchFamily="34" charset="0"/>
                <a:cs typeface="Arial" panose="020B0604020202020204" pitchFamily="34" charset="0"/>
              </a:rPr>
              <a:t>Establish 15 End Malaria Councils and Funds to mobilise additional domestic public and private resources and engage local country leaders across all sectors</a:t>
            </a:r>
          </a:p>
        </p:txBody>
      </p:sp>
      <p:grpSp>
        <p:nvGrpSpPr>
          <p:cNvPr id="4" name="Group 3"/>
          <p:cNvGrpSpPr/>
          <p:nvPr/>
        </p:nvGrpSpPr>
        <p:grpSpPr>
          <a:xfrm>
            <a:off x="1078780" y="3830818"/>
            <a:ext cx="6760374" cy="645871"/>
            <a:chOff x="1467676" y="5161437"/>
            <a:chExt cx="9197462" cy="878705"/>
          </a:xfrm>
        </p:grpSpPr>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55441" y="5161437"/>
              <a:ext cx="599022" cy="599022"/>
            </a:xfrm>
            <a:prstGeom prst="rect">
              <a:avLst/>
            </a:prstGeom>
          </p:spPr>
        </p:pic>
        <p:sp>
          <p:nvSpPr>
            <p:cNvPr id="22" name="TextBox 21"/>
            <p:cNvSpPr txBox="1"/>
            <p:nvPr/>
          </p:nvSpPr>
          <p:spPr>
            <a:xfrm>
              <a:off x="1467676" y="5824671"/>
              <a:ext cx="2459420" cy="215471"/>
            </a:xfrm>
            <a:prstGeom prst="rect">
              <a:avLst/>
            </a:prstGeom>
          </p:spPr>
          <p:txBody>
            <a:bodyPr vert="horz" wrap="square" lIns="0" tIns="0" rIns="0" bIns="0" rtlCol="0">
              <a:spAutoFit/>
            </a:bodyPr>
            <a:lstStyle/>
            <a:p>
              <a:pPr algn="ctr"/>
              <a:r>
                <a:rPr lang="en-ZA" sz="1029" i="1" dirty="0">
                  <a:latin typeface="Arial" panose="020B0604020202020204" pitchFamily="34" charset="0"/>
                  <a:cs typeface="Arial" panose="020B0604020202020204" pitchFamily="34" charset="0"/>
                </a:rPr>
                <a:t>Youth Army</a:t>
              </a:r>
            </a:p>
          </p:txBody>
        </p:sp>
        <p:sp>
          <p:nvSpPr>
            <p:cNvPr id="25" name="TextBox 24"/>
            <p:cNvSpPr txBox="1"/>
            <p:nvPr/>
          </p:nvSpPr>
          <p:spPr>
            <a:xfrm>
              <a:off x="4449272" y="5422135"/>
              <a:ext cx="6215866" cy="430941"/>
            </a:xfrm>
            <a:prstGeom prst="rect">
              <a:avLst/>
            </a:prstGeom>
          </p:spPr>
          <p:txBody>
            <a:bodyPr vert="horz" wrap="square" lIns="0" tIns="0" rIns="0" bIns="0" rtlCol="0" anchor="ctr">
              <a:spAutoFit/>
            </a:bodyPr>
            <a:lstStyle/>
            <a:p>
              <a:r>
                <a:rPr lang="en-ZA" sz="1029" i="1" dirty="0">
                  <a:latin typeface="Arial" panose="020B0604020202020204" pitchFamily="34" charset="0"/>
                  <a:cs typeface="Arial" panose="020B0604020202020204" pitchFamily="34" charset="0"/>
                </a:rPr>
                <a:t>Recruit a new generation of malaria advocates to champion political and resource commitments to support malaria control and elimination</a:t>
              </a:r>
            </a:p>
          </p:txBody>
        </p:sp>
      </p:grpSp>
      <p:cxnSp>
        <p:nvCxnSpPr>
          <p:cNvPr id="5" name="Straight Connector 4"/>
          <p:cNvCxnSpPr/>
          <p:nvPr/>
        </p:nvCxnSpPr>
        <p:spPr>
          <a:xfrm>
            <a:off x="3194816" y="4563357"/>
            <a:ext cx="4644339" cy="0"/>
          </a:xfrm>
          <a:prstGeom prst="lin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3194816" y="3762870"/>
            <a:ext cx="4644339" cy="0"/>
          </a:xfrm>
          <a:prstGeom prst="lin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194816" y="2800152"/>
            <a:ext cx="4644339" cy="0"/>
          </a:xfrm>
          <a:prstGeom prst="line">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32153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85B17C85-56ED-4CDA-BBC0-FD62BF55A551}"/>
              </a:ext>
            </a:extLst>
          </p:cNvPr>
          <p:cNvSpPr txBox="1">
            <a:spLocks/>
          </p:cNvSpPr>
          <p:nvPr/>
        </p:nvSpPr>
        <p:spPr>
          <a:xfrm>
            <a:off x="455710" y="4397165"/>
            <a:ext cx="8048430" cy="1302857"/>
          </a:xfrm>
          <a:prstGeom prst="rect">
            <a:avLst/>
          </a:prstGeom>
        </p:spPr>
        <p:txBody>
          <a:bodyPr vert="horz" wrap="square" lIns="0" tIns="0" rIns="0" bIns="0" rtlCol="0" anchor="ctr">
            <a:spAutoFit/>
          </a:bodyPr>
          <a:lstStyle>
            <a:lvl1pPr algn="l" defTabSz="672067" rtl="0" eaLnBrk="1" latinLnBrk="0" hangingPunct="1">
              <a:lnSpc>
                <a:spcPct val="90000"/>
              </a:lnSpc>
              <a:spcBef>
                <a:spcPct val="0"/>
              </a:spcBef>
              <a:buNone/>
              <a:defRPr sz="264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marL="0" marR="0" lvl="0" indent="0" algn="ctr" defTabSz="672067" rtl="0" eaLnBrk="1" fontAlgn="auto" latinLnBrk="0" hangingPunct="1">
              <a:lnSpc>
                <a:spcPct val="90000"/>
              </a:lnSpc>
              <a:spcBef>
                <a:spcPct val="0"/>
              </a:spcBef>
              <a:spcAft>
                <a:spcPts val="0"/>
              </a:spcAft>
              <a:buClrTx/>
              <a:buSzTx/>
              <a:buFontTx/>
              <a:buNone/>
              <a:tabLst/>
              <a:defRPr/>
            </a:pPr>
            <a:r>
              <a:rPr kumimoji="0" lang="fr-FR" sz="3136"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Strategic plans and data collection</a:t>
            </a: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endParaRPr kumimoji="0" lang="en-US"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8" name="Picture 7">
            <a:extLst>
              <a:ext uri="{FF2B5EF4-FFF2-40B4-BE49-F238E27FC236}">
                <a16:creationId xmlns:a16="http://schemas.microsoft.com/office/drawing/2014/main" id="{393BBE19-56A8-4EBD-B210-04B0887D6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234" y="1775996"/>
            <a:ext cx="7352982" cy="1737142"/>
          </a:xfrm>
          <a:prstGeom prst="rect">
            <a:avLst/>
          </a:prstGeom>
        </p:spPr>
      </p:pic>
    </p:spTree>
    <p:extLst>
      <p:ext uri="{BB962C8B-B14F-4D97-AF65-F5344CB8AC3E}">
        <p14:creationId xmlns:p14="http://schemas.microsoft.com/office/powerpoint/2010/main" val="757457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5DB66-9E3F-4386-9163-D13CF8239E43}"/>
              </a:ext>
            </a:extLst>
          </p:cNvPr>
          <p:cNvSpPr>
            <a:spLocks noGrp="1"/>
          </p:cNvSpPr>
          <p:nvPr>
            <p:ph type="title" idx="4294967295"/>
          </p:nvPr>
        </p:nvSpPr>
        <p:spPr>
          <a:xfrm>
            <a:off x="837521" y="1037138"/>
            <a:ext cx="8065294" cy="434375"/>
          </a:xfrm>
        </p:spPr>
        <p:txBody>
          <a:bodyPr>
            <a:noAutofit/>
          </a:bodyPr>
          <a:lstStyle/>
          <a:p>
            <a:r>
              <a:rPr lang="en-US" sz="3000" b="1" dirty="0">
                <a:latin typeface="Arial" panose="020B0604020202020204" pitchFamily="34" charset="0"/>
                <a:cs typeface="Arial" panose="020B0604020202020204" pitchFamily="34" charset="0"/>
              </a:rPr>
              <a:t>What is a National Malaria Strategic Plan?</a:t>
            </a:r>
          </a:p>
        </p:txBody>
      </p:sp>
      <p:sp>
        <p:nvSpPr>
          <p:cNvPr id="3" name="Title 1">
            <a:extLst>
              <a:ext uri="{FF2B5EF4-FFF2-40B4-BE49-F238E27FC236}">
                <a16:creationId xmlns:a16="http://schemas.microsoft.com/office/drawing/2014/main" id="{B3E2BBA0-7A52-4EE9-ABBC-9A3A95C671B6}"/>
              </a:ext>
            </a:extLst>
          </p:cNvPr>
          <p:cNvSpPr txBox="1">
            <a:spLocks/>
          </p:cNvSpPr>
          <p:nvPr/>
        </p:nvSpPr>
        <p:spPr bwMode="auto">
          <a:xfrm>
            <a:off x="521637" y="1894462"/>
            <a:ext cx="4897257" cy="6155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800" b="0" kern="0" dirty="0">
                <a:solidFill>
                  <a:srgbClr val="3C4245"/>
                </a:solidFill>
                <a:latin typeface="Arial" panose="020B0604020202020204" pitchFamily="34" charset="0"/>
              </a:rPr>
              <a:t>Guiding 5-year strategy document for National Malaria Programmes</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800" b="0" kern="0" dirty="0">
                <a:solidFill>
                  <a:srgbClr val="3C4245"/>
                </a:solidFill>
                <a:latin typeface="Arial" panose="020B0604020202020204" pitchFamily="34" charset="0"/>
              </a:rPr>
              <a:t>Defines programme objectives and priorities</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800" b="0" kern="0" dirty="0">
                <a:solidFill>
                  <a:srgbClr val="3C4245"/>
                </a:solidFill>
                <a:latin typeface="Arial" panose="020B0604020202020204" pitchFamily="34" charset="0"/>
              </a:rPr>
              <a:t>Yearly planned activities to achieve objectives</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800" b="0" kern="0" dirty="0">
                <a:solidFill>
                  <a:srgbClr val="3C4245"/>
                </a:solidFill>
                <a:latin typeface="Arial" panose="020B0604020202020204" pitchFamily="34" charset="0"/>
              </a:rPr>
              <a:t>M&amp;E framework to establish quantitative targets to measure progress towards objectives</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800" b="0" kern="0" dirty="0">
                <a:solidFill>
                  <a:srgbClr val="3C4245"/>
                </a:solidFill>
                <a:latin typeface="Arial" panose="020B0604020202020204" pitchFamily="34" charset="0"/>
              </a:rPr>
              <a:t>Uses indicators to measure those targets</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1800" b="0" kern="0" dirty="0">
                <a:solidFill>
                  <a:srgbClr val="3C4245"/>
                </a:solidFill>
                <a:latin typeface="Arial" panose="020B0604020202020204" pitchFamily="34" charset="0"/>
              </a:rPr>
              <a:t>Example: </a:t>
            </a:r>
            <a:r>
              <a:rPr lang="en-US" sz="1800" b="0" kern="0" dirty="0">
                <a:solidFill>
                  <a:srgbClr val="0070C0"/>
                </a:solidFill>
                <a:latin typeface="Arial" panose="020B0604020202020204" pitchFamily="34" charset="0"/>
                <a:hlinkClick r:id="rId2">
                  <a:extLst>
                    <a:ext uri="{A12FA001-AC4F-418D-AE19-62706E023703}">
                      <ahyp:hlinkClr xmlns:ahyp="http://schemas.microsoft.com/office/drawing/2018/hyperlinkcolor" val="tx"/>
                    </a:ext>
                  </a:extLst>
                </a:hlinkClick>
              </a:rPr>
              <a:t>Tanzania strategic plan</a:t>
            </a:r>
            <a:endParaRPr lang="en-US" sz="1800" b="0" kern="0" dirty="0">
              <a:solidFill>
                <a:srgbClr val="0070C0"/>
              </a:solidFill>
              <a:latin typeface="Arial" panose="020B0604020202020204" pitchFamily="34" charset="0"/>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1800" b="0" kern="0" dirty="0">
              <a:solidFill>
                <a:srgbClr val="3C4245"/>
              </a:solidFill>
              <a:latin typeface="Arial" panose="020B0604020202020204" pitchFamily="34" charset="0"/>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2400" b="0" kern="0" dirty="0">
              <a:solidFill>
                <a:srgbClr val="3C4245"/>
              </a:solidFill>
              <a:latin typeface="Arial" panose="020B0604020202020204" pitchFamily="34" charset="0"/>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1600" b="0" kern="0" dirty="0">
              <a:solidFill>
                <a:srgbClr val="3C4245"/>
              </a:solidFill>
              <a:latin typeface="Arial" panose="020B0604020202020204" pitchFamily="34" charset="0"/>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2800" b="0" kern="0" dirty="0">
              <a:solidFill>
                <a:srgbClr val="38529C"/>
              </a:solidFill>
              <a:latin typeface="Calibri Light" panose="020F0302020204030204"/>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lang="en-US" sz="1600" b="0" i="0" dirty="0">
              <a:solidFill>
                <a:srgbClr val="3C4245"/>
              </a:solidFill>
              <a:effectLst/>
              <a:latin typeface="Arial" panose="020B0604020202020204" pitchFamily="34" charset="0"/>
            </a:endParaRPr>
          </a:p>
        </p:txBody>
      </p:sp>
      <p:pic>
        <p:nvPicPr>
          <p:cNvPr id="5" name="Picture 4">
            <a:extLst>
              <a:ext uri="{FF2B5EF4-FFF2-40B4-BE49-F238E27FC236}">
                <a16:creationId xmlns:a16="http://schemas.microsoft.com/office/drawing/2014/main" id="{DB0D6569-642B-43CB-9F4C-D87B0009A8A3}"/>
              </a:ext>
            </a:extLst>
          </p:cNvPr>
          <p:cNvPicPr>
            <a:picLocks noChangeAspect="1"/>
          </p:cNvPicPr>
          <p:nvPr/>
        </p:nvPicPr>
        <p:blipFill>
          <a:blip r:embed="rId3"/>
          <a:stretch>
            <a:fillRect/>
          </a:stretch>
        </p:blipFill>
        <p:spPr>
          <a:xfrm>
            <a:off x="5675796" y="1804253"/>
            <a:ext cx="3084298" cy="4008960"/>
          </a:xfrm>
          <a:prstGeom prst="rect">
            <a:avLst/>
          </a:prstGeom>
        </p:spPr>
      </p:pic>
    </p:spTree>
    <p:extLst>
      <p:ext uri="{BB962C8B-B14F-4D97-AF65-F5344CB8AC3E}">
        <p14:creationId xmlns:p14="http://schemas.microsoft.com/office/powerpoint/2010/main" val="2199083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5DB66-9E3F-4386-9163-D13CF8239E43}"/>
              </a:ext>
            </a:extLst>
          </p:cNvPr>
          <p:cNvSpPr>
            <a:spLocks noGrp="1"/>
          </p:cNvSpPr>
          <p:nvPr>
            <p:ph type="title" idx="4294967295"/>
          </p:nvPr>
        </p:nvSpPr>
        <p:spPr>
          <a:xfrm>
            <a:off x="963573" y="1141973"/>
            <a:ext cx="8065294" cy="434375"/>
          </a:xfrm>
        </p:spPr>
        <p:txBody>
          <a:bodyPr>
            <a:normAutofit fontScale="90000"/>
          </a:bodyPr>
          <a:lstStyle/>
          <a:p>
            <a:r>
              <a:rPr lang="en-US" sz="2800" dirty="0">
                <a:latin typeface="Arial" panose="020B0604020202020204" pitchFamily="34" charset="0"/>
                <a:cs typeface="Arial" panose="020B0604020202020204" pitchFamily="34" charset="0"/>
              </a:rPr>
              <a:t>Workshop Objectives</a:t>
            </a:r>
          </a:p>
        </p:txBody>
      </p:sp>
      <p:sp>
        <p:nvSpPr>
          <p:cNvPr id="4" name="Text Placeholder 3">
            <a:extLst>
              <a:ext uri="{FF2B5EF4-FFF2-40B4-BE49-F238E27FC236}">
                <a16:creationId xmlns:a16="http://schemas.microsoft.com/office/drawing/2014/main" id="{802BB0D2-D79E-4D0D-ABEB-E2FA4C2D5571}"/>
              </a:ext>
            </a:extLst>
          </p:cNvPr>
          <p:cNvSpPr>
            <a:spLocks noGrp="1"/>
          </p:cNvSpPr>
          <p:nvPr>
            <p:ph type="body" sz="quarter" idx="17"/>
          </p:nvPr>
        </p:nvSpPr>
        <p:spPr/>
        <p:txBody>
          <a:bodyPr/>
          <a:lstStyle/>
          <a:p>
            <a:endParaRPr lang="en-US"/>
          </a:p>
        </p:txBody>
      </p:sp>
      <p:sp>
        <p:nvSpPr>
          <p:cNvPr id="3" name="Title 1">
            <a:extLst>
              <a:ext uri="{FF2B5EF4-FFF2-40B4-BE49-F238E27FC236}">
                <a16:creationId xmlns:a16="http://schemas.microsoft.com/office/drawing/2014/main" id="{B3E2BBA0-7A52-4EE9-ABBC-9A3A95C671B6}"/>
              </a:ext>
            </a:extLst>
          </p:cNvPr>
          <p:cNvSpPr txBox="1">
            <a:spLocks/>
          </p:cNvSpPr>
          <p:nvPr/>
        </p:nvSpPr>
        <p:spPr bwMode="auto">
          <a:xfrm>
            <a:off x="697693" y="1788907"/>
            <a:ext cx="7750159" cy="5387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342900" marR="0" lvl="0" indent="-342900">
              <a:lnSpc>
                <a:spcPct val="107000"/>
              </a:lnSpc>
              <a:spcBef>
                <a:spcPts val="600"/>
              </a:spcBef>
              <a:spcAft>
                <a:spcPts val="0"/>
              </a:spcAft>
              <a:buFont typeface="+mj-lt"/>
              <a:buAutoNum type="arabicPeriod"/>
            </a:pPr>
            <a:r>
              <a:rPr lang="en-US" sz="18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Gain an understanding of malaria interventions and how National Malaria Programmes conduct monitoring and evaluation of their strategic plans and collect data.</a:t>
            </a:r>
          </a:p>
          <a:p>
            <a:pPr marL="342900" marR="0" lvl="0" indent="-342900">
              <a:lnSpc>
                <a:spcPct val="107000"/>
              </a:lnSpc>
              <a:spcBef>
                <a:spcPts val="600"/>
              </a:spcBef>
              <a:spcAft>
                <a:spcPts val="0"/>
              </a:spcAft>
              <a:buFont typeface="+mj-lt"/>
              <a:buAutoNum type="arabicPeriod"/>
            </a:pPr>
            <a:r>
              <a:rPr lang="en-US" sz="18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Gain an understanding of what is a scorecard management tool and how countries use the tool to drive action, accountability and advocacy.</a:t>
            </a:r>
          </a:p>
          <a:p>
            <a:pPr marL="342900" marR="0" lvl="0" indent="-342900">
              <a:lnSpc>
                <a:spcPct val="107000"/>
              </a:lnSpc>
              <a:spcBef>
                <a:spcPts val="600"/>
              </a:spcBef>
              <a:spcAft>
                <a:spcPts val="0"/>
              </a:spcAft>
              <a:buFont typeface="+mj-lt"/>
              <a:buAutoNum type="arabicPeriod"/>
            </a:pPr>
            <a:r>
              <a:rPr lang="en-US" sz="18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Learn about the ALMA Scorecard Hub and how to access scorecard resources including country scorecards, best practices and courses on how to use scorecards.</a:t>
            </a:r>
          </a:p>
          <a:p>
            <a:pPr marL="342900" marR="0" lvl="0" indent="-342900">
              <a:lnSpc>
                <a:spcPct val="107000"/>
              </a:lnSpc>
              <a:spcBef>
                <a:spcPts val="600"/>
              </a:spcBef>
              <a:spcAft>
                <a:spcPts val="0"/>
              </a:spcAft>
              <a:buFont typeface="+mj-lt"/>
              <a:buAutoNum type="arabicPeriod"/>
            </a:pPr>
            <a:r>
              <a:rPr lang="en-US" sz="18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Learn about the scorecard web platform.</a:t>
            </a:r>
          </a:p>
          <a:p>
            <a:pPr marL="342900" marR="0" lvl="0" indent="-342900">
              <a:lnSpc>
                <a:spcPct val="107000"/>
              </a:lnSpc>
              <a:spcBef>
                <a:spcPts val="600"/>
              </a:spcBef>
              <a:spcAft>
                <a:spcPts val="0"/>
              </a:spcAft>
              <a:buFont typeface="+mj-lt"/>
              <a:buAutoNum type="arabicPeriod"/>
            </a:pPr>
            <a:r>
              <a:rPr lang="en-US" sz="18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Learn how to use the scorecard for advocacy and communications national to community level.</a:t>
            </a:r>
          </a:p>
          <a:p>
            <a:pPr marL="342900" marR="0" lvl="0" indent="-342900">
              <a:lnSpc>
                <a:spcPct val="107000"/>
              </a:lnSpc>
              <a:spcBef>
                <a:spcPts val="600"/>
              </a:spcBef>
              <a:spcAft>
                <a:spcPts val="0"/>
              </a:spcAft>
              <a:buFont typeface="+mj-lt"/>
              <a:buAutoNum type="arabicPeriod"/>
            </a:pPr>
            <a:r>
              <a:rPr lang="en-US" sz="18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Agree on next steps</a:t>
            </a:r>
          </a:p>
          <a:p>
            <a:pPr marL="176212">
              <a:spcBef>
                <a:spcPts val="1200"/>
              </a:spcBef>
            </a:pPr>
            <a:endParaRPr lang="en-US" sz="1800" b="0" dirty="0"/>
          </a:p>
          <a:p>
            <a:pPr marL="457200" indent="-280988">
              <a:spcBef>
                <a:spcPts val="1200"/>
              </a:spcBef>
              <a:buFont typeface="+mj-lt"/>
              <a:buAutoNum type="arabicPeriod"/>
            </a:pPr>
            <a:endParaRPr lang="en-US" sz="1800" b="0" dirty="0"/>
          </a:p>
          <a:p>
            <a:pPr>
              <a:spcBef>
                <a:spcPts val="1200"/>
              </a:spcBef>
            </a:pPr>
            <a:endParaRPr lang="en-US" sz="2800" b="0" kern="0" dirty="0"/>
          </a:p>
        </p:txBody>
      </p:sp>
      <p:pic>
        <p:nvPicPr>
          <p:cNvPr id="1031170" name="Picture 2" descr="http://www.free-icons-download.net/images/objective-88507.png">
            <a:extLst>
              <a:ext uri="{FF2B5EF4-FFF2-40B4-BE49-F238E27FC236}">
                <a16:creationId xmlns:a16="http://schemas.microsoft.com/office/drawing/2014/main" id="{4C5D204A-59E5-415F-904C-804351335A7B}"/>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30131" y="338122"/>
            <a:ext cx="1025667" cy="102566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793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Right 1">
            <a:extLst>
              <a:ext uri="{FF2B5EF4-FFF2-40B4-BE49-F238E27FC236}">
                <a16:creationId xmlns:a16="http://schemas.microsoft.com/office/drawing/2014/main" id="{C2A446F5-116A-46DA-AFA4-6A1DC25C1E5C}"/>
              </a:ext>
            </a:extLst>
          </p:cNvPr>
          <p:cNvSpPr/>
          <p:nvPr/>
        </p:nvSpPr>
        <p:spPr>
          <a:xfrm>
            <a:off x="3768806" y="3525905"/>
            <a:ext cx="1294514" cy="767711"/>
          </a:xfrm>
          <a:prstGeom prst="right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Arial" panose="020B060402020202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id="{AE402703-AD99-464D-B893-73529EC79101}"/>
              </a:ext>
            </a:extLst>
          </p:cNvPr>
          <p:cNvGrpSpPr/>
          <p:nvPr/>
        </p:nvGrpSpPr>
        <p:grpSpPr>
          <a:xfrm>
            <a:off x="344999" y="2794357"/>
            <a:ext cx="3423807" cy="2230806"/>
            <a:chOff x="776239" y="2208368"/>
            <a:chExt cx="3423807" cy="2230806"/>
          </a:xfrm>
          <a:scene3d>
            <a:camera prst="orthographicFront"/>
            <a:lightRig rig="threePt" dir="t">
              <a:rot lat="0" lon="0" rev="7500000"/>
            </a:lightRig>
          </a:scene3d>
        </p:grpSpPr>
        <p:sp>
          <p:nvSpPr>
            <p:cNvPr id="18" name="Rectangle 17">
              <a:extLst>
                <a:ext uri="{FF2B5EF4-FFF2-40B4-BE49-F238E27FC236}">
                  <a16:creationId xmlns:a16="http://schemas.microsoft.com/office/drawing/2014/main" id="{FB0B1608-01E7-42A0-A02F-A42E91A22760}"/>
                </a:ext>
              </a:extLst>
            </p:cNvPr>
            <p:cNvSpPr/>
            <p:nvPr/>
          </p:nvSpPr>
          <p:spPr>
            <a:xfrm>
              <a:off x="776239" y="2208368"/>
              <a:ext cx="3423807" cy="2230806"/>
            </a:xfrm>
            <a:prstGeom prst="rect">
              <a:avLst/>
            </a:prstGeom>
            <a:ln w="57150"/>
            <a:sp3d>
              <a:bevelT w="114300" prst="hardEdge"/>
            </a:sp3d>
          </p:spPr>
          <p:style>
            <a:lnRef idx="2">
              <a:schemeClr val="accent4"/>
            </a:lnRef>
            <a:fillRef idx="1">
              <a:schemeClr val="lt1"/>
            </a:fillRef>
            <a:effectRef idx="0">
              <a:schemeClr val="accent4"/>
            </a:effectRef>
            <a:fontRef idx="minor">
              <a:schemeClr val="dk1"/>
            </a:fontRef>
          </p:style>
        </p:sp>
        <p:sp>
          <p:nvSpPr>
            <p:cNvPr id="19" name="TextBox 18">
              <a:extLst>
                <a:ext uri="{FF2B5EF4-FFF2-40B4-BE49-F238E27FC236}">
                  <a16:creationId xmlns:a16="http://schemas.microsoft.com/office/drawing/2014/main" id="{42A01898-32A6-4DCE-AAAB-143087CD31F5}"/>
                </a:ext>
              </a:extLst>
            </p:cNvPr>
            <p:cNvSpPr txBox="1"/>
            <p:nvPr/>
          </p:nvSpPr>
          <p:spPr>
            <a:xfrm>
              <a:off x="776239" y="2208368"/>
              <a:ext cx="3423807" cy="2230806"/>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endParaRPr lang="en-US" sz="1500" kern="1200" dirty="0">
                <a:solidFill>
                  <a:schemeClr val="tx1"/>
                </a:solidFill>
                <a:latin typeface="Arial" panose="020B0604020202020204" pitchFamily="34" charset="0"/>
                <a:cs typeface="Arial" panose="020B0604020202020204" pitchFamily="34" charset="0"/>
              </a:endParaRPr>
            </a:p>
            <a:p>
              <a:pPr marL="0" lvl="0" indent="0" algn="ctr" defTabSz="666750">
                <a:lnSpc>
                  <a:spcPct val="90000"/>
                </a:lnSpc>
                <a:spcBef>
                  <a:spcPct val="0"/>
                </a:spcBef>
                <a:spcAft>
                  <a:spcPct val="35000"/>
                </a:spcAft>
                <a:buNone/>
              </a:pPr>
              <a:endParaRPr lang="en-US" sz="1500" kern="1200" dirty="0">
                <a:solidFill>
                  <a:schemeClr val="tx1"/>
                </a:solidFill>
                <a:latin typeface="Arial" panose="020B0604020202020204" pitchFamily="34" charset="0"/>
                <a:cs typeface="Arial" panose="020B0604020202020204" pitchFamily="34" charset="0"/>
              </a:endParaRPr>
            </a:p>
            <a:p>
              <a:pPr marL="0" lvl="0" indent="0" algn="ctr" defTabSz="666750">
                <a:lnSpc>
                  <a:spcPct val="90000"/>
                </a:lnSpc>
                <a:spcBef>
                  <a:spcPct val="0"/>
                </a:spcBef>
                <a:spcAft>
                  <a:spcPct val="35000"/>
                </a:spcAft>
                <a:buNone/>
              </a:pPr>
              <a:endParaRPr lang="en-US" sz="1500" kern="1200" dirty="0">
                <a:solidFill>
                  <a:schemeClr val="tx1"/>
                </a:solidFill>
                <a:latin typeface="Arial" panose="020B0604020202020204" pitchFamily="34" charset="0"/>
                <a:cs typeface="Arial" panose="020B0604020202020204" pitchFamily="34" charset="0"/>
              </a:endParaRPr>
            </a:p>
            <a:p>
              <a:pPr marL="0" lvl="0" indent="0" algn="ctr" defTabSz="666750">
                <a:lnSpc>
                  <a:spcPct val="90000"/>
                </a:lnSpc>
                <a:spcBef>
                  <a:spcPct val="0"/>
                </a:spcBef>
                <a:spcAft>
                  <a:spcPct val="35000"/>
                </a:spcAft>
                <a:buNone/>
              </a:pPr>
              <a:endParaRPr lang="en-US" sz="1500" kern="1200" dirty="0">
                <a:solidFill>
                  <a:schemeClr val="tx1"/>
                </a:solidFill>
                <a:latin typeface="Arial" panose="020B0604020202020204" pitchFamily="34" charset="0"/>
                <a:cs typeface="Arial" panose="020B0604020202020204" pitchFamily="34" charset="0"/>
              </a:endParaRPr>
            </a:p>
            <a:p>
              <a:pPr marL="0" lvl="0" indent="0" algn="ctr" defTabSz="666750">
                <a:lnSpc>
                  <a:spcPct val="90000"/>
                </a:lnSpc>
                <a:spcBef>
                  <a:spcPct val="0"/>
                </a:spcBef>
                <a:spcAft>
                  <a:spcPct val="35000"/>
                </a:spcAft>
                <a:buNone/>
              </a:pPr>
              <a:endParaRPr lang="en-US" sz="1500" kern="1200" dirty="0">
                <a:solidFill>
                  <a:schemeClr val="tx1"/>
                </a:solidFill>
                <a:latin typeface="Arial" panose="020B0604020202020204" pitchFamily="34" charset="0"/>
                <a:cs typeface="Arial" panose="020B0604020202020204" pitchFamily="34" charset="0"/>
              </a:endParaRPr>
            </a:p>
            <a:p>
              <a:pPr marL="0" lvl="0" indent="0" algn="ctr" defTabSz="666750">
                <a:lnSpc>
                  <a:spcPct val="90000"/>
                </a:lnSpc>
                <a:spcBef>
                  <a:spcPct val="0"/>
                </a:spcBef>
                <a:spcAft>
                  <a:spcPct val="35000"/>
                </a:spcAft>
                <a:buNone/>
              </a:pPr>
              <a:r>
                <a:rPr lang="en-US" sz="1500" kern="1200" dirty="0">
                  <a:solidFill>
                    <a:schemeClr val="tx1"/>
                  </a:solidFill>
                  <a:latin typeface="Arial" panose="020B0604020202020204" pitchFamily="34" charset="0"/>
                  <a:cs typeface="Arial" panose="020B0604020202020204" pitchFamily="34" charset="0"/>
                </a:rPr>
                <a:t>Distribution of mosquito nets to pregnant women attending </a:t>
              </a:r>
              <a:br>
                <a:rPr lang="en-US" sz="1500" kern="1200" dirty="0">
                  <a:solidFill>
                    <a:schemeClr val="tx1"/>
                  </a:solidFill>
                  <a:latin typeface="Arial" panose="020B0604020202020204" pitchFamily="34" charset="0"/>
                  <a:cs typeface="Arial" panose="020B0604020202020204" pitchFamily="34" charset="0"/>
                </a:rPr>
              </a:br>
              <a:r>
                <a:rPr lang="en-US" sz="1500" kern="1200" dirty="0">
                  <a:solidFill>
                    <a:schemeClr val="tx1"/>
                  </a:solidFill>
                  <a:latin typeface="Arial" panose="020B0604020202020204" pitchFamily="34" charset="0"/>
                  <a:cs typeface="Arial" panose="020B0604020202020204" pitchFamily="34" charset="0"/>
                </a:rPr>
                <a:t>antenatal care</a:t>
              </a:r>
            </a:p>
          </p:txBody>
        </p:sp>
      </p:grpSp>
      <p:sp>
        <p:nvSpPr>
          <p:cNvPr id="5" name="Title 1">
            <a:extLst>
              <a:ext uri="{FF2B5EF4-FFF2-40B4-BE49-F238E27FC236}">
                <a16:creationId xmlns:a16="http://schemas.microsoft.com/office/drawing/2014/main" id="{6EA4847F-6053-4A93-9388-CF1E13C4D420}"/>
              </a:ext>
            </a:extLst>
          </p:cNvPr>
          <p:cNvSpPr txBox="1">
            <a:spLocks/>
          </p:cNvSpPr>
          <p:nvPr/>
        </p:nvSpPr>
        <p:spPr bwMode="auto">
          <a:xfrm>
            <a:off x="217281" y="992007"/>
            <a:ext cx="856781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400" b="0" kern="0" dirty="0">
                <a:solidFill>
                  <a:schemeClr val="tx1"/>
                </a:solidFill>
                <a:latin typeface="Arial" panose="020B0604020202020204" pitchFamily="34" charset="0"/>
                <a:cs typeface="Arial" panose="020B0604020202020204" pitchFamily="34" charset="0"/>
              </a:rPr>
              <a:t>Progress of interventions are measured using </a:t>
            </a:r>
            <a:r>
              <a:rPr lang="en-US" sz="2400" b="0" u="sng" kern="0" dirty="0">
                <a:solidFill>
                  <a:schemeClr val="tx1"/>
                </a:solidFill>
                <a:latin typeface="Arial" panose="020B0604020202020204" pitchFamily="34" charset="0"/>
                <a:cs typeface="Arial" panose="020B0604020202020204" pitchFamily="34" charset="0"/>
              </a:rPr>
              <a:t>indicators</a:t>
            </a:r>
            <a:r>
              <a:rPr lang="en-US" sz="2400" b="0" kern="0" dirty="0">
                <a:solidFill>
                  <a:schemeClr val="tx1"/>
                </a:solidFill>
                <a:latin typeface="Arial" panose="020B0604020202020204" pitchFamily="34" charset="0"/>
                <a:cs typeface="Arial" panose="020B0604020202020204" pitchFamily="34" charset="0"/>
              </a:rPr>
              <a:t>  </a:t>
            </a:r>
          </a:p>
        </p:txBody>
      </p:sp>
      <p:pic>
        <p:nvPicPr>
          <p:cNvPr id="1100810" name="Picture 10">
            <a:extLst>
              <a:ext uri="{FF2B5EF4-FFF2-40B4-BE49-F238E27FC236}">
                <a16:creationId xmlns:a16="http://schemas.microsoft.com/office/drawing/2014/main" id="{BB31147E-C12D-4E93-B960-C3810F1636E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18145" y="2958592"/>
            <a:ext cx="1311966" cy="1311966"/>
          </a:xfrm>
          <a:prstGeom prst="rect">
            <a:avLst/>
          </a:prstGeom>
          <a:noFill/>
          <a:extLst>
            <a:ext uri="{909E8E84-426E-40DD-AFC4-6F175D3DCCD1}">
              <a14:hiddenFill xmlns:a14="http://schemas.microsoft.com/office/drawing/2010/main">
                <a:solidFill>
                  <a:srgbClr val="FFFFFF"/>
                </a:solidFill>
              </a14:hiddenFill>
            </a:ext>
          </a:extLst>
        </p:spPr>
      </p:pic>
      <p:pic>
        <p:nvPicPr>
          <p:cNvPr id="1100824" name="Picture 24">
            <a:extLst>
              <a:ext uri="{FF2B5EF4-FFF2-40B4-BE49-F238E27FC236}">
                <a16:creationId xmlns:a16="http://schemas.microsoft.com/office/drawing/2014/main" id="{7DCEEE21-3316-4C7C-A7BD-0442E35F9D0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6391" y="3473185"/>
            <a:ext cx="606751" cy="79737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a:extLst>
              <a:ext uri="{FF2B5EF4-FFF2-40B4-BE49-F238E27FC236}">
                <a16:creationId xmlns:a16="http://schemas.microsoft.com/office/drawing/2014/main" id="{9D0F87E0-B9B7-4EEC-9256-65BDFE47E2B5}"/>
              </a:ext>
            </a:extLst>
          </p:cNvPr>
          <p:cNvSpPr txBox="1">
            <a:spLocks/>
          </p:cNvSpPr>
          <p:nvPr/>
        </p:nvSpPr>
        <p:spPr bwMode="auto">
          <a:xfrm>
            <a:off x="1249905" y="2274664"/>
            <a:ext cx="16894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400" b="0" kern="0" dirty="0">
                <a:solidFill>
                  <a:schemeClr val="tx1"/>
                </a:solidFill>
                <a:latin typeface="Arial" panose="020B0604020202020204" pitchFamily="34" charset="0"/>
                <a:cs typeface="Arial" panose="020B0604020202020204" pitchFamily="34" charset="0"/>
              </a:rPr>
              <a:t>Intervention</a:t>
            </a:r>
          </a:p>
        </p:txBody>
      </p:sp>
      <p:sp>
        <p:nvSpPr>
          <p:cNvPr id="23" name="Title 1">
            <a:extLst>
              <a:ext uri="{FF2B5EF4-FFF2-40B4-BE49-F238E27FC236}">
                <a16:creationId xmlns:a16="http://schemas.microsoft.com/office/drawing/2014/main" id="{CA3808F9-11F4-4AA7-BD86-CBB913A5D23D}"/>
              </a:ext>
            </a:extLst>
          </p:cNvPr>
          <p:cNvSpPr txBox="1">
            <a:spLocks/>
          </p:cNvSpPr>
          <p:nvPr/>
        </p:nvSpPr>
        <p:spPr bwMode="auto">
          <a:xfrm>
            <a:off x="6329308" y="2274664"/>
            <a:ext cx="141470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400" b="0" kern="0" dirty="0">
                <a:solidFill>
                  <a:schemeClr val="tx1"/>
                </a:solidFill>
                <a:latin typeface="Arial" panose="020B0604020202020204" pitchFamily="34" charset="0"/>
                <a:cs typeface="Arial" panose="020B0604020202020204" pitchFamily="34" charset="0"/>
              </a:rPr>
              <a:t>Indicator</a:t>
            </a:r>
          </a:p>
        </p:txBody>
      </p:sp>
      <p:grpSp>
        <p:nvGrpSpPr>
          <p:cNvPr id="24" name="Group 23">
            <a:extLst>
              <a:ext uri="{FF2B5EF4-FFF2-40B4-BE49-F238E27FC236}">
                <a16:creationId xmlns:a16="http://schemas.microsoft.com/office/drawing/2014/main" id="{510592B5-954C-4A88-A20C-69C7A50224EF}"/>
              </a:ext>
            </a:extLst>
          </p:cNvPr>
          <p:cNvGrpSpPr/>
          <p:nvPr/>
        </p:nvGrpSpPr>
        <p:grpSpPr>
          <a:xfrm>
            <a:off x="5178581" y="2794357"/>
            <a:ext cx="3423807" cy="2230806"/>
            <a:chOff x="776239" y="2208368"/>
            <a:chExt cx="3423807" cy="2230806"/>
          </a:xfrm>
          <a:scene3d>
            <a:camera prst="orthographicFront"/>
            <a:lightRig rig="threePt" dir="t">
              <a:rot lat="0" lon="0" rev="7500000"/>
            </a:lightRig>
          </a:scene3d>
        </p:grpSpPr>
        <p:sp>
          <p:nvSpPr>
            <p:cNvPr id="25" name="Rectangle 24">
              <a:extLst>
                <a:ext uri="{FF2B5EF4-FFF2-40B4-BE49-F238E27FC236}">
                  <a16:creationId xmlns:a16="http://schemas.microsoft.com/office/drawing/2014/main" id="{8ED5EE4A-3345-485E-872D-A0D56C0E3BA3}"/>
                </a:ext>
              </a:extLst>
            </p:cNvPr>
            <p:cNvSpPr/>
            <p:nvPr/>
          </p:nvSpPr>
          <p:spPr>
            <a:xfrm>
              <a:off x="776239" y="2208368"/>
              <a:ext cx="3423807" cy="2230806"/>
            </a:xfrm>
            <a:prstGeom prst="rect">
              <a:avLst/>
            </a:prstGeom>
            <a:ln w="57150"/>
            <a:sp3d>
              <a:bevelT w="114300" prst="hardEdge"/>
            </a:sp3d>
          </p:spPr>
          <p:style>
            <a:lnRef idx="2">
              <a:schemeClr val="accent4"/>
            </a:lnRef>
            <a:fillRef idx="1">
              <a:schemeClr val="lt1"/>
            </a:fillRef>
            <a:effectRef idx="0">
              <a:schemeClr val="accent4"/>
            </a:effectRef>
            <a:fontRef idx="minor">
              <a:schemeClr val="dk1"/>
            </a:fontRef>
          </p:style>
        </p:sp>
        <p:sp>
          <p:nvSpPr>
            <p:cNvPr id="26" name="TextBox 25">
              <a:extLst>
                <a:ext uri="{FF2B5EF4-FFF2-40B4-BE49-F238E27FC236}">
                  <a16:creationId xmlns:a16="http://schemas.microsoft.com/office/drawing/2014/main" id="{0A535693-762A-42EC-9AA1-1E24D6C6A0E0}"/>
                </a:ext>
              </a:extLst>
            </p:cNvPr>
            <p:cNvSpPr txBox="1"/>
            <p:nvPr/>
          </p:nvSpPr>
          <p:spPr>
            <a:xfrm>
              <a:off x="776239" y="2208368"/>
              <a:ext cx="3423807" cy="2230806"/>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dirty="0">
                  <a:solidFill>
                    <a:schemeClr val="tx1"/>
                  </a:solidFill>
                  <a:latin typeface="Arial" panose="020B0604020202020204" pitchFamily="34" charset="0"/>
                  <a:cs typeface="Arial" panose="020B0604020202020204" pitchFamily="34" charset="0"/>
                </a:rPr>
                <a:t>%</a:t>
              </a:r>
              <a:r>
                <a:rPr lang="en-US" sz="1500" kern="1200" dirty="0">
                  <a:solidFill>
                    <a:schemeClr val="tx1"/>
                  </a:solidFill>
                  <a:latin typeface="Arial" panose="020B0604020202020204" pitchFamily="34" charset="0"/>
                  <a:cs typeface="Arial" panose="020B0604020202020204" pitchFamily="34" charset="0"/>
                </a:rPr>
                <a:t> of pregnant women receiving a mosquito net during antenatal care</a:t>
              </a:r>
            </a:p>
            <a:p>
              <a:pPr marL="0" lvl="0" indent="0" algn="ctr" defTabSz="666750">
                <a:lnSpc>
                  <a:spcPct val="90000"/>
                </a:lnSpc>
                <a:spcBef>
                  <a:spcPct val="0"/>
                </a:spcBef>
                <a:spcAft>
                  <a:spcPct val="35000"/>
                </a:spcAft>
                <a:buNone/>
              </a:pPr>
              <a:endParaRPr lang="en-US" sz="1500" dirty="0">
                <a:solidFill>
                  <a:schemeClr val="tx1"/>
                </a:solidFill>
                <a:latin typeface="Arial" panose="020B0604020202020204" pitchFamily="34" charset="0"/>
                <a:cs typeface="Arial" panose="020B0604020202020204" pitchFamily="34" charset="0"/>
              </a:endParaRPr>
            </a:p>
            <a:p>
              <a:pPr marL="0" lvl="0" indent="0" algn="ctr" defTabSz="666750">
                <a:lnSpc>
                  <a:spcPct val="90000"/>
                </a:lnSpc>
                <a:spcBef>
                  <a:spcPct val="0"/>
                </a:spcBef>
                <a:spcAft>
                  <a:spcPct val="35000"/>
                </a:spcAft>
                <a:buNone/>
              </a:pPr>
              <a:r>
                <a:rPr lang="en-US" sz="1500" dirty="0">
                  <a:solidFill>
                    <a:schemeClr val="tx1"/>
                  </a:solidFill>
                  <a:latin typeface="Arial" panose="020B0604020202020204" pitchFamily="34" charset="0"/>
                  <a:cs typeface="Arial" panose="020B0604020202020204" pitchFamily="34" charset="0"/>
                </a:rPr>
                <a:t>CALCULATION:</a:t>
              </a:r>
            </a:p>
            <a:p>
              <a:pPr marL="0" lvl="0" indent="0" algn="ctr" defTabSz="666750">
                <a:lnSpc>
                  <a:spcPct val="90000"/>
                </a:lnSpc>
                <a:spcBef>
                  <a:spcPct val="0"/>
                </a:spcBef>
                <a:spcAft>
                  <a:spcPct val="35000"/>
                </a:spcAft>
                <a:buNone/>
              </a:pPr>
              <a:r>
                <a:rPr lang="en-US" sz="1500" kern="1200" dirty="0">
                  <a:solidFill>
                    <a:schemeClr val="tx1"/>
                  </a:solidFill>
                  <a:latin typeface="Arial" panose="020B0604020202020204" pitchFamily="34" charset="0"/>
                  <a:cs typeface="Arial" panose="020B0604020202020204" pitchFamily="34" charset="0"/>
                </a:rPr>
                <a:t># of pregnant women received net</a:t>
              </a:r>
            </a:p>
            <a:p>
              <a:pPr marL="0" lvl="0" indent="0" algn="ctr" defTabSz="666750">
                <a:lnSpc>
                  <a:spcPct val="90000"/>
                </a:lnSpc>
                <a:spcBef>
                  <a:spcPct val="0"/>
                </a:spcBef>
                <a:spcAft>
                  <a:spcPct val="35000"/>
                </a:spcAft>
                <a:buNone/>
              </a:pPr>
              <a:r>
                <a:rPr lang="en-US" sz="1500" dirty="0">
                  <a:solidFill>
                    <a:schemeClr val="tx1"/>
                  </a:solidFill>
                  <a:latin typeface="Arial" panose="020B0604020202020204" pitchFamily="34" charset="0"/>
                  <a:cs typeface="Arial" panose="020B0604020202020204" pitchFamily="34" charset="0"/>
                </a:rPr>
                <a:t># of women attended ANC</a:t>
              </a:r>
              <a:r>
                <a:rPr lang="en-US" sz="1500" kern="1200" dirty="0">
                  <a:solidFill>
                    <a:schemeClr val="tx1"/>
                  </a:solidFill>
                  <a:latin typeface="Arial" panose="020B0604020202020204" pitchFamily="34" charset="0"/>
                  <a:cs typeface="Arial" panose="020B0604020202020204" pitchFamily="34" charset="0"/>
                </a:rPr>
                <a:t>  </a:t>
              </a:r>
            </a:p>
          </p:txBody>
        </p:sp>
      </p:grpSp>
      <p:sp>
        <p:nvSpPr>
          <p:cNvPr id="28" name="Title 1">
            <a:extLst>
              <a:ext uri="{FF2B5EF4-FFF2-40B4-BE49-F238E27FC236}">
                <a16:creationId xmlns:a16="http://schemas.microsoft.com/office/drawing/2014/main" id="{7EA64995-0798-4EDF-807E-26DF9A9E066C}"/>
              </a:ext>
            </a:extLst>
          </p:cNvPr>
          <p:cNvSpPr txBox="1">
            <a:spLocks/>
          </p:cNvSpPr>
          <p:nvPr/>
        </p:nvSpPr>
        <p:spPr bwMode="auto">
          <a:xfrm>
            <a:off x="3656461" y="1834860"/>
            <a:ext cx="16894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400" b="0" kern="0" dirty="0">
                <a:solidFill>
                  <a:schemeClr val="tx1"/>
                </a:solidFill>
                <a:latin typeface="Arial" panose="020B0604020202020204" pitchFamily="34" charset="0"/>
                <a:cs typeface="Arial" panose="020B0604020202020204" pitchFamily="34" charset="0"/>
              </a:rPr>
              <a:t>EXAMPLE</a:t>
            </a:r>
          </a:p>
        </p:txBody>
      </p:sp>
      <p:cxnSp>
        <p:nvCxnSpPr>
          <p:cNvPr id="8" name="Straight Connector 7">
            <a:extLst>
              <a:ext uri="{FF2B5EF4-FFF2-40B4-BE49-F238E27FC236}">
                <a16:creationId xmlns:a16="http://schemas.microsoft.com/office/drawing/2014/main" id="{33386588-0371-4B33-B8F7-815EFBA6CA8D}"/>
              </a:ext>
            </a:extLst>
          </p:cNvPr>
          <p:cNvCxnSpPr/>
          <p:nvPr/>
        </p:nvCxnSpPr>
        <p:spPr>
          <a:xfrm>
            <a:off x="5445457" y="4430096"/>
            <a:ext cx="2947916"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EAAFCBD5-3765-4785-8B4A-C467F847B2CD}"/>
              </a:ext>
            </a:extLst>
          </p:cNvPr>
          <p:cNvSpPr txBox="1">
            <a:spLocks/>
          </p:cNvSpPr>
          <p:nvPr/>
        </p:nvSpPr>
        <p:spPr bwMode="auto">
          <a:xfrm>
            <a:off x="0" y="5424484"/>
            <a:ext cx="8961437"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1800" b="0" kern="0" dirty="0">
                <a:solidFill>
                  <a:schemeClr val="tx1"/>
                </a:solidFill>
                <a:latin typeface="Arial" panose="020B0604020202020204" pitchFamily="34" charset="0"/>
                <a:cs typeface="Arial" panose="020B0604020202020204" pitchFamily="34" charset="0"/>
              </a:rPr>
              <a:t>Each indicator is assigned a target… </a:t>
            </a:r>
          </a:p>
          <a:p>
            <a:pPr algn="ctr"/>
            <a:r>
              <a:rPr lang="en-US" sz="1800" b="0" kern="0" dirty="0">
                <a:solidFill>
                  <a:schemeClr val="tx1"/>
                </a:solidFill>
                <a:latin typeface="Arial" panose="020B0604020202020204" pitchFamily="34" charset="0"/>
                <a:cs typeface="Arial" panose="020B0604020202020204" pitchFamily="34" charset="0"/>
              </a:rPr>
              <a:t>Example: At least 85% of pregnant women should receive a net during ANC</a:t>
            </a:r>
          </a:p>
        </p:txBody>
      </p:sp>
      <p:sp>
        <p:nvSpPr>
          <p:cNvPr id="3" name="Text Placeholder 2">
            <a:extLst>
              <a:ext uri="{FF2B5EF4-FFF2-40B4-BE49-F238E27FC236}">
                <a16:creationId xmlns:a16="http://schemas.microsoft.com/office/drawing/2014/main" id="{164E90BF-0B45-4F66-AC8B-A371F7E3B0E5}"/>
              </a:ext>
            </a:extLst>
          </p:cNvPr>
          <p:cNvSpPr>
            <a:spLocks noGrp="1"/>
          </p:cNvSpPr>
          <p:nvPr>
            <p:ph type="body" sz="quarter" idx="17"/>
          </p:nvPr>
        </p:nvSpPr>
        <p:spPr>
          <a:xfrm>
            <a:off x="154261" y="6433800"/>
            <a:ext cx="6911276" cy="101823"/>
          </a:xfrm>
        </p:spPr>
        <p:txBody>
          <a:bodyPr/>
          <a:lstStyle/>
          <a:p>
            <a:endParaRPr lang="en-US"/>
          </a:p>
        </p:txBody>
      </p:sp>
    </p:spTree>
    <p:extLst>
      <p:ext uri="{BB962C8B-B14F-4D97-AF65-F5344CB8AC3E}">
        <p14:creationId xmlns:p14="http://schemas.microsoft.com/office/powerpoint/2010/main" val="22496126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EA4847F-6053-4A93-9388-CF1E13C4D420}"/>
              </a:ext>
            </a:extLst>
          </p:cNvPr>
          <p:cNvSpPr txBox="1">
            <a:spLocks/>
          </p:cNvSpPr>
          <p:nvPr/>
        </p:nvSpPr>
        <p:spPr bwMode="auto">
          <a:xfrm>
            <a:off x="196809" y="936818"/>
            <a:ext cx="8567819"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2400" b="0" i="0" u="none" strike="noStrike" kern="0" cap="none" spc="0" normalizeH="0" baseline="0" noProof="0" dirty="0">
                <a:ln>
                  <a:noFill/>
                </a:ln>
                <a:solidFill>
                  <a:srgbClr val="39302A"/>
                </a:solidFill>
                <a:effectLst/>
                <a:uLnTx/>
                <a:uFillTx/>
                <a:latin typeface="Arial" panose="020B0604020202020204" pitchFamily="34" charset="0"/>
                <a:cs typeface="Arial" panose="020B0604020202020204" pitchFamily="34" charset="0"/>
              </a:rPr>
              <a:t>Two methods of indicator data collection: </a:t>
            </a:r>
          </a:p>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2400" b="0" i="0" u="sng" strike="noStrike" kern="0" cap="none" spc="0" normalizeH="0" baseline="0" noProof="0" dirty="0">
                <a:ln>
                  <a:noFill/>
                </a:ln>
                <a:solidFill>
                  <a:srgbClr val="39302A"/>
                </a:solidFill>
                <a:effectLst/>
                <a:uLnTx/>
                <a:uFillTx/>
                <a:latin typeface="Arial" panose="020B0604020202020204" pitchFamily="34" charset="0"/>
                <a:cs typeface="Arial" panose="020B0604020202020204" pitchFamily="34" charset="0"/>
              </a:rPr>
              <a:t>Routine</a:t>
            </a:r>
            <a:r>
              <a:rPr kumimoji="0" lang="en-US" sz="2400" b="0" i="0" strike="noStrike" kern="0" cap="none" spc="0" normalizeH="0" baseline="0" noProof="0" dirty="0">
                <a:ln>
                  <a:noFill/>
                </a:ln>
                <a:solidFill>
                  <a:srgbClr val="39302A"/>
                </a:solidFill>
                <a:effectLst/>
                <a:uLnTx/>
                <a:uFillTx/>
                <a:latin typeface="Arial" panose="020B0604020202020204" pitchFamily="34" charset="0"/>
                <a:cs typeface="Arial" panose="020B0604020202020204" pitchFamily="34" charset="0"/>
              </a:rPr>
              <a:t> and </a:t>
            </a:r>
            <a:r>
              <a:rPr kumimoji="0" lang="en-US" sz="2400" b="0" i="0" u="sng" strike="noStrike" kern="0" cap="none" spc="0" normalizeH="0" baseline="0" noProof="0" dirty="0">
                <a:ln>
                  <a:noFill/>
                </a:ln>
                <a:solidFill>
                  <a:srgbClr val="39302A"/>
                </a:solidFill>
                <a:effectLst/>
                <a:uLnTx/>
                <a:uFillTx/>
                <a:latin typeface="Arial" panose="020B0604020202020204" pitchFamily="34" charset="0"/>
                <a:cs typeface="Arial" panose="020B0604020202020204" pitchFamily="34" charset="0"/>
              </a:rPr>
              <a:t>Survey</a:t>
            </a:r>
          </a:p>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endParaRPr kumimoji="0" lang="en-US" sz="2400" b="0" i="0" u="none" strike="noStrike" kern="0" cap="none" spc="0" normalizeH="0" baseline="0" noProof="0" dirty="0">
              <a:ln>
                <a:noFill/>
              </a:ln>
              <a:solidFill>
                <a:srgbClr val="39302A"/>
              </a:solidFill>
              <a:effectLst/>
              <a:uLnTx/>
              <a:uFillTx/>
              <a:latin typeface="Arial" panose="020B0604020202020204" pitchFamily="34" charset="0"/>
              <a:cs typeface="Arial" panose="020B0604020202020204" pitchFamily="34" charset="0"/>
            </a:endParaRPr>
          </a:p>
        </p:txBody>
      </p:sp>
      <p:graphicFrame>
        <p:nvGraphicFramePr>
          <p:cNvPr id="3" name="Table 3">
            <a:extLst>
              <a:ext uri="{FF2B5EF4-FFF2-40B4-BE49-F238E27FC236}">
                <a16:creationId xmlns:a16="http://schemas.microsoft.com/office/drawing/2014/main" id="{78543744-E9E2-4FF9-9807-CD3A5C56A0E0}"/>
              </a:ext>
            </a:extLst>
          </p:cNvPr>
          <p:cNvGraphicFramePr>
            <a:graphicFrameLocks noGrp="1"/>
          </p:cNvGraphicFramePr>
          <p:nvPr>
            <p:extLst>
              <p:ext uri="{D42A27DB-BD31-4B8C-83A1-F6EECF244321}">
                <p14:modId xmlns:p14="http://schemas.microsoft.com/office/powerpoint/2010/main" val="4280242130"/>
              </p:ext>
            </p:extLst>
          </p:nvPr>
        </p:nvGraphicFramePr>
        <p:xfrm>
          <a:off x="9145" y="2265436"/>
          <a:ext cx="8961438" cy="3063240"/>
        </p:xfrm>
        <a:graphic>
          <a:graphicData uri="http://schemas.openxmlformats.org/drawingml/2006/table">
            <a:tbl>
              <a:tblPr firstRow="1" bandRow="1">
                <a:tableStyleId>{00A15C55-8517-42AA-B614-E9B94910E393}</a:tableStyleId>
              </a:tblPr>
              <a:tblGrid>
                <a:gridCol w="1649058">
                  <a:extLst>
                    <a:ext uri="{9D8B030D-6E8A-4147-A177-3AD203B41FA5}">
                      <a16:colId xmlns:a16="http://schemas.microsoft.com/office/drawing/2014/main" val="1760580358"/>
                    </a:ext>
                  </a:extLst>
                </a:gridCol>
                <a:gridCol w="3650776">
                  <a:extLst>
                    <a:ext uri="{9D8B030D-6E8A-4147-A177-3AD203B41FA5}">
                      <a16:colId xmlns:a16="http://schemas.microsoft.com/office/drawing/2014/main" val="4080168517"/>
                    </a:ext>
                  </a:extLst>
                </a:gridCol>
                <a:gridCol w="3661604">
                  <a:extLst>
                    <a:ext uri="{9D8B030D-6E8A-4147-A177-3AD203B41FA5}">
                      <a16:colId xmlns:a16="http://schemas.microsoft.com/office/drawing/2014/main" val="3833067204"/>
                    </a:ext>
                  </a:extLst>
                </a:gridCol>
              </a:tblGrid>
              <a:tr h="799126">
                <a:tc>
                  <a:txBody>
                    <a:bodyPr/>
                    <a:lstStyle/>
                    <a:p>
                      <a:pPr algn="ctr"/>
                      <a:endParaRPr lang="en-US" sz="1800" dirty="0"/>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1800" dirty="0"/>
                        <a:t>Routine data (Health Management Information Syst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Survey data (DHS, MIS, oth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559519"/>
                  </a:ext>
                </a:extLst>
              </a:tr>
              <a:tr h="1464988">
                <a:tc>
                  <a:txBody>
                    <a:bodyPr/>
                    <a:lstStyle/>
                    <a:p>
                      <a:pPr algn="ctr"/>
                      <a:r>
                        <a:rPr lang="en-US" sz="1800" dirty="0"/>
                        <a:t>Meth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Health facilities and hospitals report information to a central database (DHIS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 Studies a sample of the population to understand the country situatio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6700599"/>
                  </a:ext>
                </a:extLst>
              </a:tr>
              <a:tr h="799126">
                <a:tc>
                  <a:txBody>
                    <a:bodyPr/>
                    <a:lstStyle/>
                    <a:p>
                      <a:pPr algn="ctr"/>
                      <a:r>
                        <a:rPr lang="en-US" sz="1800" dirty="0"/>
                        <a:t>Frequ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Continuous collection, usually reported quarter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t>Every 2-5 years </a:t>
                      </a:r>
                    </a:p>
                    <a:p>
                      <a:pPr algn="ctr"/>
                      <a:r>
                        <a:rPr lang="en-US" sz="1800" dirty="0"/>
                        <a:t>(depends on the surve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998160"/>
                  </a:ext>
                </a:extLst>
              </a:tr>
            </a:tbl>
          </a:graphicData>
        </a:graphic>
      </p:graphicFrame>
      <p:sp>
        <p:nvSpPr>
          <p:cNvPr id="2" name="Text Placeholder 1">
            <a:extLst>
              <a:ext uri="{FF2B5EF4-FFF2-40B4-BE49-F238E27FC236}">
                <a16:creationId xmlns:a16="http://schemas.microsoft.com/office/drawing/2014/main" id="{2D290770-35FF-4682-AC9F-90C47B9B4CED}"/>
              </a:ext>
            </a:extLst>
          </p:cNvPr>
          <p:cNvSpPr>
            <a:spLocks noGrp="1"/>
          </p:cNvSpPr>
          <p:nvPr>
            <p:ph type="body" sz="quarter" idx="17"/>
          </p:nvPr>
        </p:nvSpPr>
        <p:spPr>
          <a:xfrm>
            <a:off x="154261" y="6433800"/>
            <a:ext cx="6911276" cy="101823"/>
          </a:xfrm>
        </p:spPr>
        <p:txBody>
          <a:bodyPr/>
          <a:lstStyle/>
          <a:p>
            <a:endParaRPr lang="en-US"/>
          </a:p>
        </p:txBody>
      </p:sp>
    </p:spTree>
    <p:extLst>
      <p:ext uri="{BB962C8B-B14F-4D97-AF65-F5344CB8AC3E}">
        <p14:creationId xmlns:p14="http://schemas.microsoft.com/office/powerpoint/2010/main" val="20048079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85B17C85-56ED-4CDA-BBC0-FD62BF55A551}"/>
              </a:ext>
            </a:extLst>
          </p:cNvPr>
          <p:cNvSpPr txBox="1">
            <a:spLocks/>
          </p:cNvSpPr>
          <p:nvPr/>
        </p:nvSpPr>
        <p:spPr>
          <a:xfrm>
            <a:off x="455710" y="4397165"/>
            <a:ext cx="8048430" cy="1302857"/>
          </a:xfrm>
          <a:prstGeom prst="rect">
            <a:avLst/>
          </a:prstGeom>
        </p:spPr>
        <p:txBody>
          <a:bodyPr vert="horz" wrap="square" lIns="0" tIns="0" rIns="0" bIns="0" rtlCol="0" anchor="ctr">
            <a:spAutoFit/>
          </a:bodyPr>
          <a:lstStyle>
            <a:lvl1pPr algn="l" defTabSz="672067" rtl="0" eaLnBrk="1" latinLnBrk="0" hangingPunct="1">
              <a:lnSpc>
                <a:spcPct val="90000"/>
              </a:lnSpc>
              <a:spcBef>
                <a:spcPct val="0"/>
              </a:spcBef>
              <a:buNone/>
              <a:defRPr sz="264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marL="0" marR="0" lvl="0" indent="0" algn="ctr" defTabSz="672067" rtl="0" eaLnBrk="1" fontAlgn="auto" latinLnBrk="0" hangingPunct="1">
              <a:lnSpc>
                <a:spcPct val="90000"/>
              </a:lnSpc>
              <a:spcBef>
                <a:spcPct val="0"/>
              </a:spcBef>
              <a:spcAft>
                <a:spcPts val="0"/>
              </a:spcAft>
              <a:buClrTx/>
              <a:buSzTx/>
              <a:buFontTx/>
              <a:buNone/>
              <a:tabLst/>
              <a:defRPr/>
            </a:pPr>
            <a:r>
              <a:rPr kumimoji="0" lang="fr-FR" sz="3136"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Scorecard Management Tools</a:t>
            </a: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endParaRPr kumimoji="0" lang="en-US"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8" name="Picture 7">
            <a:extLst>
              <a:ext uri="{FF2B5EF4-FFF2-40B4-BE49-F238E27FC236}">
                <a16:creationId xmlns:a16="http://schemas.microsoft.com/office/drawing/2014/main" id="{393BBE19-56A8-4EBD-B210-04B0887D6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234" y="1775996"/>
            <a:ext cx="7352982" cy="1737142"/>
          </a:xfrm>
          <a:prstGeom prst="rect">
            <a:avLst/>
          </a:prstGeom>
        </p:spPr>
      </p:pic>
    </p:spTree>
    <p:extLst>
      <p:ext uri="{BB962C8B-B14F-4D97-AF65-F5344CB8AC3E}">
        <p14:creationId xmlns:p14="http://schemas.microsoft.com/office/powerpoint/2010/main" val="34679521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A21032E0-C041-4D6A-967C-611758E295A8}"/>
              </a:ext>
            </a:extLst>
          </p:cNvPr>
          <p:cNvSpPr txBox="1">
            <a:spLocks noChangeArrowheads="1"/>
          </p:cNvSpPr>
          <p:nvPr>
            <p:custDataLst>
              <p:tags r:id="rId1"/>
            </p:custDataLst>
          </p:nvPr>
        </p:nvSpPr>
        <p:spPr bwMode="gray">
          <a:xfrm>
            <a:off x="536456" y="409544"/>
            <a:ext cx="8648776"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3738" rtl="0" eaLnBrk="0" fontAlgn="base" hangingPunct="0">
              <a:spcBef>
                <a:spcPct val="0"/>
              </a:spcBef>
              <a:spcAft>
                <a:spcPct val="0"/>
              </a:spcAft>
              <a:defRPr sz="1900" b="1">
                <a:solidFill>
                  <a:schemeClr val="tx2"/>
                </a:solidFill>
                <a:latin typeface="+mj-lt"/>
                <a:ea typeface="+mj-ea"/>
                <a:cs typeface="+mj-cs"/>
              </a:defRPr>
            </a:lvl1pPr>
            <a:lvl2pPr algn="l" defTabSz="893738" rtl="0" eaLnBrk="0" fontAlgn="base" hangingPunct="0">
              <a:spcBef>
                <a:spcPct val="0"/>
              </a:spcBef>
              <a:spcAft>
                <a:spcPct val="0"/>
              </a:spcAft>
              <a:defRPr sz="1900" b="1">
                <a:solidFill>
                  <a:schemeClr val="tx2"/>
                </a:solidFill>
                <a:latin typeface="Arial" charset="0"/>
              </a:defRPr>
            </a:lvl2pPr>
            <a:lvl3pPr algn="l" defTabSz="893738" rtl="0" eaLnBrk="0" fontAlgn="base" hangingPunct="0">
              <a:spcBef>
                <a:spcPct val="0"/>
              </a:spcBef>
              <a:spcAft>
                <a:spcPct val="0"/>
              </a:spcAft>
              <a:defRPr sz="1900" b="1">
                <a:solidFill>
                  <a:schemeClr val="tx2"/>
                </a:solidFill>
                <a:latin typeface="Arial" charset="0"/>
              </a:defRPr>
            </a:lvl3pPr>
            <a:lvl4pPr algn="l" defTabSz="893738" rtl="0" eaLnBrk="0" fontAlgn="base" hangingPunct="0">
              <a:spcBef>
                <a:spcPct val="0"/>
              </a:spcBef>
              <a:spcAft>
                <a:spcPct val="0"/>
              </a:spcAft>
              <a:defRPr sz="1900" b="1">
                <a:solidFill>
                  <a:schemeClr val="tx2"/>
                </a:solidFill>
                <a:latin typeface="Arial" charset="0"/>
              </a:defRPr>
            </a:lvl4pPr>
            <a:lvl5pPr algn="l" defTabSz="893738" rtl="0" eaLnBrk="0" fontAlgn="base" hangingPunct="0">
              <a:spcBef>
                <a:spcPct val="0"/>
              </a:spcBef>
              <a:spcAft>
                <a:spcPct val="0"/>
              </a:spcAft>
              <a:defRPr sz="1900" b="1">
                <a:solidFill>
                  <a:schemeClr val="tx2"/>
                </a:solidFill>
                <a:latin typeface="Arial" charset="0"/>
              </a:defRPr>
            </a:lvl5pPr>
            <a:lvl6pPr marL="456367" algn="l" defTabSz="893738" rtl="0" fontAlgn="base">
              <a:spcBef>
                <a:spcPct val="0"/>
              </a:spcBef>
              <a:spcAft>
                <a:spcPct val="0"/>
              </a:spcAft>
              <a:defRPr sz="1900" b="1">
                <a:solidFill>
                  <a:schemeClr val="tx2"/>
                </a:solidFill>
                <a:latin typeface="Arial" charset="0"/>
              </a:defRPr>
            </a:lvl6pPr>
            <a:lvl7pPr marL="912755" algn="l" defTabSz="893738" rtl="0" fontAlgn="base">
              <a:spcBef>
                <a:spcPct val="0"/>
              </a:spcBef>
              <a:spcAft>
                <a:spcPct val="0"/>
              </a:spcAft>
              <a:defRPr sz="1900" b="1">
                <a:solidFill>
                  <a:schemeClr val="tx2"/>
                </a:solidFill>
                <a:latin typeface="Arial" charset="0"/>
              </a:defRPr>
            </a:lvl7pPr>
            <a:lvl8pPr marL="1369134" algn="l" defTabSz="893738" rtl="0" fontAlgn="base">
              <a:spcBef>
                <a:spcPct val="0"/>
              </a:spcBef>
              <a:spcAft>
                <a:spcPct val="0"/>
              </a:spcAft>
              <a:defRPr sz="1900" b="1">
                <a:solidFill>
                  <a:schemeClr val="tx2"/>
                </a:solidFill>
                <a:latin typeface="Arial" charset="0"/>
              </a:defRPr>
            </a:lvl8pPr>
            <a:lvl9pPr marL="1825506" algn="l" defTabSz="893738" rtl="0" fontAlgn="base">
              <a:spcBef>
                <a:spcPct val="0"/>
              </a:spcBef>
              <a:spcAft>
                <a:spcPct val="0"/>
              </a:spcAft>
              <a:defRPr sz="1900" b="1">
                <a:solidFill>
                  <a:schemeClr val="tx2"/>
                </a:solidFill>
                <a:latin typeface="Arial" charset="0"/>
              </a:defRPr>
            </a:lvl9pPr>
          </a:lstStyle>
          <a:p>
            <a:pPr defTabSz="893643"/>
            <a:r>
              <a:rPr lang="en-US" altLang="en-US" sz="2000" dirty="0">
                <a:solidFill>
                  <a:srgbClr val="002960"/>
                </a:solidFill>
                <a:latin typeface="Arial" panose="020B0604020202020204" pitchFamily="34" charset="0"/>
                <a:cs typeface="Arial" panose="020B0604020202020204" pitchFamily="34" charset="0"/>
              </a:rPr>
              <a:t>ALMA: An alliance of Heads of State and Government in Africa</a:t>
            </a:r>
          </a:p>
        </p:txBody>
      </p:sp>
      <p:sp>
        <p:nvSpPr>
          <p:cNvPr id="4" name="Rectangle 12">
            <a:extLst>
              <a:ext uri="{FF2B5EF4-FFF2-40B4-BE49-F238E27FC236}">
                <a16:creationId xmlns:a16="http://schemas.microsoft.com/office/drawing/2014/main" id="{1FA20C9A-B5B2-4FC0-8DC4-9752CABC3E45}"/>
              </a:ext>
            </a:extLst>
          </p:cNvPr>
          <p:cNvSpPr>
            <a:spLocks noChangeArrowheads="1"/>
          </p:cNvSpPr>
          <p:nvPr/>
        </p:nvSpPr>
        <p:spPr bwMode="gray">
          <a:xfrm>
            <a:off x="295112" y="1549327"/>
            <a:ext cx="4749227" cy="4616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eaLnBrk="0" hangingPunct="0">
              <a:defRPr sz="1400" b="1">
                <a:solidFill>
                  <a:schemeClr val="tx1"/>
                </a:solidFill>
                <a:latin typeface="Arial" panose="020B0604020202020204" pitchFamily="34" charset="0"/>
              </a:defRPr>
            </a:lvl1pPr>
            <a:lvl2pPr marL="193675" indent="-192088" defTabSz="895350" eaLnBrk="0" hangingPunct="0">
              <a:defRPr sz="1400" b="1">
                <a:solidFill>
                  <a:schemeClr val="tx1"/>
                </a:solidFill>
                <a:latin typeface="Arial" panose="020B0604020202020204" pitchFamily="34" charset="0"/>
              </a:defRPr>
            </a:lvl2pPr>
            <a:lvl3pPr marL="1143000" indent="-228600" defTabSz="895350" eaLnBrk="0" hangingPunct="0">
              <a:defRPr sz="1400" b="1">
                <a:solidFill>
                  <a:schemeClr val="tx1"/>
                </a:solidFill>
                <a:latin typeface="Arial" panose="020B0604020202020204" pitchFamily="34" charset="0"/>
              </a:defRPr>
            </a:lvl3pPr>
            <a:lvl4pPr marL="1600200" indent="-228600" defTabSz="895350" eaLnBrk="0" hangingPunct="0">
              <a:defRPr sz="1400" b="1">
                <a:solidFill>
                  <a:schemeClr val="tx1"/>
                </a:solidFill>
                <a:latin typeface="Arial" panose="020B0604020202020204" pitchFamily="34" charset="0"/>
              </a:defRPr>
            </a:lvl4pPr>
            <a:lvl5pPr marL="2057400" indent="-228600" defTabSz="895350" eaLnBrk="0" hangingPunct="0">
              <a:defRPr sz="1400" b="1">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400" b="1">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400" b="1">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400" b="1">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400" b="1">
                <a:solidFill>
                  <a:schemeClr val="tx1"/>
                </a:solidFill>
                <a:latin typeface="Arial" panose="020B0604020202020204" pitchFamily="34" charset="0"/>
              </a:defRPr>
            </a:lvl9pPr>
          </a:lstStyle>
          <a:p>
            <a:pPr marL="1619" lvl="1" indent="0" defTabSz="895255" eaLnBrk="1" hangingPunct="1">
              <a:buClr>
                <a:srgbClr val="39302A"/>
              </a:buClr>
              <a:buSzPct val="125000"/>
              <a:buFont typeface="Arial" charset="0"/>
              <a:buChar char="▪"/>
              <a:defRPr/>
            </a:pPr>
            <a:endParaRPr lang="en-US" altLang="en-US" sz="1500" b="0" dirty="0">
              <a:solidFill>
                <a:prstClr val="black"/>
              </a:solidFill>
            </a:endParaRPr>
          </a:p>
          <a:p>
            <a:pPr marL="193655" lvl="1" indent="-192067" defTabSz="895255">
              <a:buClr>
                <a:srgbClr val="002960"/>
              </a:buClr>
              <a:buSzPct val="125000"/>
              <a:buFont typeface="Arial" panose="020B0604020202020204" pitchFamily="34" charset="0"/>
              <a:buChar char="•"/>
              <a:defRPr/>
            </a:pPr>
            <a:r>
              <a:rPr lang="en-US" sz="1500" b="0" dirty="0">
                <a:solidFill>
                  <a:prstClr val="black"/>
                </a:solidFill>
              </a:rPr>
              <a:t>Provides a forum for Heads of State to </a:t>
            </a:r>
            <a:r>
              <a:rPr lang="en-US" sz="1500" b="0" u="sng" dirty="0">
                <a:solidFill>
                  <a:prstClr val="black"/>
                </a:solidFill>
              </a:rPr>
              <a:t>review progress and address challenges</a:t>
            </a:r>
            <a:r>
              <a:rPr lang="en-US" sz="1500" b="0" dirty="0">
                <a:solidFill>
                  <a:prstClr val="black"/>
                </a:solidFill>
              </a:rPr>
              <a:t> in meeting the malaria targets</a:t>
            </a:r>
          </a:p>
          <a:p>
            <a:pPr marL="193655" lvl="1" indent="-192067" defTabSz="895255">
              <a:buClr>
                <a:srgbClr val="002960"/>
              </a:buClr>
              <a:buSzPct val="125000"/>
              <a:buFont typeface="Arial" panose="020B0604020202020204" pitchFamily="34" charset="0"/>
              <a:buChar char="•"/>
              <a:defRPr/>
            </a:pPr>
            <a:endParaRPr lang="en-US" sz="1500" b="0" dirty="0">
              <a:solidFill>
                <a:prstClr val="black"/>
              </a:solidFill>
            </a:endParaRPr>
          </a:p>
          <a:p>
            <a:pPr marL="193655" lvl="1" indent="-192067" defTabSz="895255">
              <a:buClr>
                <a:srgbClr val="002960"/>
              </a:buClr>
              <a:buSzPct val="125000"/>
              <a:buFont typeface="Arial" panose="020B0604020202020204" pitchFamily="34" charset="0"/>
              <a:buChar char="•"/>
              <a:defRPr/>
            </a:pPr>
            <a:r>
              <a:rPr lang="en-US" sz="1500" b="0" dirty="0">
                <a:solidFill>
                  <a:prstClr val="black"/>
                </a:solidFill>
              </a:rPr>
              <a:t>Implements a continental monitoring and accountability system through the </a:t>
            </a:r>
            <a:r>
              <a:rPr lang="en-US" sz="1500" b="0" u="sng" dirty="0">
                <a:solidFill>
                  <a:prstClr val="black"/>
                </a:solidFill>
              </a:rPr>
              <a:t>ALMA Scorecard</a:t>
            </a:r>
            <a:r>
              <a:rPr lang="en-US" sz="1500" b="0" dirty="0">
                <a:solidFill>
                  <a:prstClr val="black"/>
                </a:solidFill>
              </a:rPr>
              <a:t> for Accountability and Action to track results, identify bottlenecks, and facilitate action</a:t>
            </a:r>
          </a:p>
          <a:p>
            <a:pPr marL="193655" lvl="1" indent="-192067" defTabSz="895255">
              <a:buClr>
                <a:srgbClr val="002960"/>
              </a:buClr>
              <a:buSzPct val="125000"/>
              <a:buFont typeface="Arial" panose="020B0604020202020204" pitchFamily="34" charset="0"/>
              <a:buChar char="•"/>
              <a:defRPr/>
            </a:pPr>
            <a:endParaRPr lang="en-US" sz="1500" b="0" dirty="0">
              <a:solidFill>
                <a:prstClr val="black"/>
              </a:solidFill>
            </a:endParaRPr>
          </a:p>
          <a:p>
            <a:pPr marL="193655" lvl="1" indent="-192067" defTabSz="895255">
              <a:buClr>
                <a:srgbClr val="002960"/>
              </a:buClr>
              <a:buSzPct val="125000"/>
              <a:buFont typeface="Arial" panose="020B0604020202020204" pitchFamily="34" charset="0"/>
              <a:buChar char="•"/>
              <a:defRPr/>
            </a:pPr>
            <a:r>
              <a:rPr lang="en-US" sz="1500" b="0" dirty="0">
                <a:solidFill>
                  <a:prstClr val="black"/>
                </a:solidFill>
              </a:rPr>
              <a:t>Supports countries with rollout of </a:t>
            </a:r>
            <a:r>
              <a:rPr lang="en-US" sz="1500" b="0" u="sng" dirty="0">
                <a:solidFill>
                  <a:prstClr val="black"/>
                </a:solidFill>
              </a:rPr>
              <a:t>national scorecard</a:t>
            </a:r>
            <a:r>
              <a:rPr lang="en-US" sz="1500" b="0" dirty="0">
                <a:solidFill>
                  <a:prstClr val="black"/>
                </a:solidFill>
              </a:rPr>
              <a:t> management tools for malaria, RMNCAH, and NTDs</a:t>
            </a:r>
          </a:p>
          <a:p>
            <a:pPr marL="193655" lvl="1" indent="-192067" defTabSz="895255">
              <a:buClr>
                <a:srgbClr val="002960"/>
              </a:buClr>
              <a:buSzPct val="125000"/>
              <a:buFont typeface="Arial" panose="020B0604020202020204" pitchFamily="34" charset="0"/>
              <a:buChar char="•"/>
              <a:defRPr/>
            </a:pPr>
            <a:endParaRPr lang="en-US" sz="1500" b="0" dirty="0">
              <a:solidFill>
                <a:prstClr val="black"/>
              </a:solidFill>
            </a:endParaRPr>
          </a:p>
          <a:p>
            <a:pPr marL="193655" lvl="1" indent="-192067" defTabSz="895255">
              <a:buClr>
                <a:srgbClr val="002960"/>
              </a:buClr>
              <a:buSzPct val="125000"/>
              <a:buFont typeface="Arial" panose="020B0604020202020204" pitchFamily="34" charset="0"/>
              <a:buChar char="•"/>
              <a:defRPr/>
            </a:pPr>
            <a:r>
              <a:rPr lang="en-US" sz="1500" b="0" u="sng" dirty="0">
                <a:solidFill>
                  <a:prstClr val="black"/>
                </a:solidFill>
              </a:rPr>
              <a:t>Identifies and shares lessons learned</a:t>
            </a:r>
            <a:r>
              <a:rPr lang="en-US" sz="1500" b="0" dirty="0">
                <a:solidFill>
                  <a:prstClr val="black"/>
                </a:solidFill>
              </a:rPr>
              <a:t> for effective implementation of national and regional </a:t>
            </a:r>
            <a:r>
              <a:rPr lang="en-US" sz="1500" b="0" dirty="0" err="1">
                <a:solidFill>
                  <a:prstClr val="black"/>
                </a:solidFill>
              </a:rPr>
              <a:t>programmes</a:t>
            </a:r>
            <a:endParaRPr lang="en-US" sz="1500" b="0" dirty="0">
              <a:solidFill>
                <a:prstClr val="black"/>
              </a:solidFill>
            </a:endParaRPr>
          </a:p>
          <a:p>
            <a:pPr marL="193655" lvl="1" indent="-192067" defTabSz="895255">
              <a:buClr>
                <a:srgbClr val="002960"/>
              </a:buClr>
              <a:buSzPct val="125000"/>
              <a:buFont typeface="Arial" panose="020B0604020202020204" pitchFamily="34" charset="0"/>
              <a:buChar char="•"/>
              <a:defRPr/>
            </a:pPr>
            <a:endParaRPr lang="en-US" sz="1500" b="0" dirty="0">
              <a:solidFill>
                <a:prstClr val="black"/>
              </a:solidFill>
            </a:endParaRPr>
          </a:p>
          <a:p>
            <a:pPr marL="193655" lvl="1" indent="-192067" defTabSz="895255">
              <a:buClr>
                <a:srgbClr val="002960"/>
              </a:buClr>
              <a:buSzPct val="125000"/>
              <a:buFont typeface="Arial" panose="020B0604020202020204" pitchFamily="34" charset="0"/>
              <a:buChar char="•"/>
              <a:defRPr/>
            </a:pPr>
            <a:r>
              <a:rPr lang="en-US" sz="1500" b="0" u="sng" dirty="0">
                <a:solidFill>
                  <a:prstClr val="black"/>
                </a:solidFill>
              </a:rPr>
              <a:t>Maintains focus and collective attention on malaria </a:t>
            </a:r>
            <a:r>
              <a:rPr lang="en-US" sz="1500" b="0" dirty="0">
                <a:solidFill>
                  <a:prstClr val="black"/>
                </a:solidFill>
              </a:rPr>
              <a:t>within the AU, international community, UN and regional organizations</a:t>
            </a:r>
          </a:p>
          <a:p>
            <a:pPr marL="193655" lvl="1" indent="-192067" defTabSz="895255">
              <a:buClr>
                <a:srgbClr val="002960"/>
              </a:buClr>
              <a:buSzPct val="125000"/>
              <a:buFont typeface="Arial" panose="020B0604020202020204" pitchFamily="34" charset="0"/>
              <a:buChar char="•"/>
              <a:defRPr/>
            </a:pPr>
            <a:endParaRPr lang="en-US" sz="1500" b="0" dirty="0">
              <a:solidFill>
                <a:prstClr val="black"/>
              </a:solidFill>
            </a:endParaRPr>
          </a:p>
        </p:txBody>
      </p:sp>
      <p:sp>
        <p:nvSpPr>
          <p:cNvPr id="5" name="AutoShape 21">
            <a:extLst>
              <a:ext uri="{FF2B5EF4-FFF2-40B4-BE49-F238E27FC236}">
                <a16:creationId xmlns:a16="http://schemas.microsoft.com/office/drawing/2014/main" id="{9ED45680-35EE-4F48-A3D2-9D58358A43B7}"/>
              </a:ext>
            </a:extLst>
          </p:cNvPr>
          <p:cNvSpPr>
            <a:spLocks noChangeArrowheads="1"/>
          </p:cNvSpPr>
          <p:nvPr/>
        </p:nvSpPr>
        <p:spPr bwMode="gray">
          <a:xfrm>
            <a:off x="0" y="873044"/>
            <a:ext cx="8930209" cy="608988"/>
          </a:xfrm>
          <a:prstGeom prst="homePlate">
            <a:avLst>
              <a:gd name="adj" fmla="val 0"/>
            </a:avLst>
          </a:prstGeom>
          <a:solidFill>
            <a:schemeClr val="tx2"/>
          </a:solidFill>
          <a:ln w="19050">
            <a:solidFill>
              <a:schemeClr val="bg1"/>
            </a:solidFill>
            <a:miter lim="800000"/>
            <a:headEnd/>
            <a:tailEnd/>
          </a:ln>
        </p:spPr>
        <p:txBody>
          <a:bodyPr anchor="ctr"/>
          <a:lstStyle>
            <a:lvl1pPr>
              <a:buClr>
                <a:schemeClr val="tx2"/>
              </a:buClr>
              <a:buChar char="•"/>
              <a:defRPr sz="1600">
                <a:solidFill>
                  <a:schemeClr val="tx1"/>
                </a:solidFill>
                <a:latin typeface="Arial" panose="020B0604020202020204" pitchFamily="34" charset="0"/>
                <a:cs typeface="Arial" panose="020B0604020202020204" pitchFamily="34" charset="0"/>
              </a:defRPr>
            </a:lvl1pPr>
            <a:lvl2pPr marL="742950" indent="-28575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914303" eaLnBrk="0" hangingPunct="0">
              <a:buClr>
                <a:srgbClr val="39302A"/>
              </a:buClr>
              <a:buSzPct val="125000"/>
              <a:buNone/>
            </a:pPr>
            <a:r>
              <a:rPr lang="en-US" altLang="en-US" sz="1530" b="1" dirty="0">
                <a:solidFill>
                  <a:prstClr val="white"/>
                </a:solidFill>
              </a:rPr>
              <a:t>ALMA was launched as a collective, coordinated response </a:t>
            </a:r>
            <a:br>
              <a:rPr lang="en-US" altLang="en-US" sz="1530" b="1" dirty="0">
                <a:solidFill>
                  <a:prstClr val="white"/>
                </a:solidFill>
              </a:rPr>
            </a:br>
            <a:r>
              <a:rPr lang="en-US" altLang="en-US" sz="1530" b="1" dirty="0">
                <a:solidFill>
                  <a:prstClr val="white"/>
                </a:solidFill>
              </a:rPr>
              <a:t>to complement efforts to rid Africa of malaria</a:t>
            </a:r>
            <a:endParaRPr lang="en-US" altLang="en-US" sz="1428" b="1" dirty="0">
              <a:solidFill>
                <a:prstClr val="black"/>
              </a:solidFill>
            </a:endParaRPr>
          </a:p>
        </p:txBody>
      </p:sp>
      <p:sp>
        <p:nvSpPr>
          <p:cNvPr id="6" name="Rectangle 5">
            <a:extLst>
              <a:ext uri="{FF2B5EF4-FFF2-40B4-BE49-F238E27FC236}">
                <a16:creationId xmlns:a16="http://schemas.microsoft.com/office/drawing/2014/main" id="{5B5DC82E-81CC-44DA-9B98-8D6E1A2F7889}"/>
              </a:ext>
            </a:extLst>
          </p:cNvPr>
          <p:cNvSpPr/>
          <p:nvPr/>
        </p:nvSpPr>
        <p:spPr>
          <a:xfrm>
            <a:off x="5456424" y="3713801"/>
            <a:ext cx="3163904" cy="657488"/>
          </a:xfrm>
          <a:prstGeom prst="rect">
            <a:avLst/>
          </a:prstGeom>
        </p:spPr>
        <p:txBody>
          <a:bodyPr wrap="square">
            <a:spAutoFit/>
          </a:bodyPr>
          <a:lstStyle/>
          <a:p>
            <a:pPr algn="ctr" defTabSz="914303" eaLnBrk="0" hangingPunct="0">
              <a:buClr>
                <a:srgbClr val="002960"/>
              </a:buClr>
              <a:buSzPct val="125000"/>
              <a:buFont typeface="Arial" charset="0"/>
              <a:buChar char="▪"/>
            </a:pPr>
            <a:endParaRPr lang="en-US" altLang="en-US" sz="1224" b="1" dirty="0">
              <a:solidFill>
                <a:prstClr val="black"/>
              </a:solidFill>
              <a:cs typeface="Arial"/>
            </a:endParaRPr>
          </a:p>
          <a:p>
            <a:pPr algn="ctr" defTabSz="914303" eaLnBrk="0" hangingPunct="0">
              <a:buClr>
                <a:srgbClr val="002960"/>
              </a:buClr>
              <a:buSzPct val="125000"/>
            </a:pPr>
            <a:r>
              <a:rPr lang="en-US" altLang="en-US" sz="1224" b="1" dirty="0">
                <a:solidFill>
                  <a:prstClr val="black"/>
                </a:solidFill>
                <a:cs typeface="Arial"/>
              </a:rPr>
              <a:t>Former Chairs of ALMA, H.E. Sirleaf (Liberia) and H.E. Kikwete (Tanzania)</a:t>
            </a:r>
            <a:endParaRPr lang="en-US" sz="1224" b="1" dirty="0">
              <a:solidFill>
                <a:prstClr val="black"/>
              </a:solidFill>
            </a:endParaRPr>
          </a:p>
        </p:txBody>
      </p:sp>
      <p:pic>
        <p:nvPicPr>
          <p:cNvPr id="8" name="Picture 7">
            <a:extLst>
              <a:ext uri="{FF2B5EF4-FFF2-40B4-BE49-F238E27FC236}">
                <a16:creationId xmlns:a16="http://schemas.microsoft.com/office/drawing/2014/main" id="{AF7AE79E-7374-45FF-99D4-085C964F8DE4}"/>
              </a:ext>
            </a:extLst>
          </p:cNvPr>
          <p:cNvPicPr>
            <a:picLocks noChangeAspect="1"/>
          </p:cNvPicPr>
          <p:nvPr/>
        </p:nvPicPr>
        <p:blipFill>
          <a:blip r:embed="rId3"/>
          <a:stretch>
            <a:fillRect/>
          </a:stretch>
        </p:blipFill>
        <p:spPr>
          <a:xfrm>
            <a:off x="5680494" y="4544043"/>
            <a:ext cx="2654592" cy="1497839"/>
          </a:xfrm>
          <a:prstGeom prst="rect">
            <a:avLst/>
          </a:prstGeom>
        </p:spPr>
      </p:pic>
      <p:pic>
        <p:nvPicPr>
          <p:cNvPr id="2" name="Picture 1">
            <a:extLst>
              <a:ext uri="{FF2B5EF4-FFF2-40B4-BE49-F238E27FC236}">
                <a16:creationId xmlns:a16="http://schemas.microsoft.com/office/drawing/2014/main" id="{8EB815DF-134C-4C99-9C5A-BE8E0D793516}"/>
              </a:ext>
            </a:extLst>
          </p:cNvPr>
          <p:cNvPicPr>
            <a:picLocks noChangeAspect="1"/>
          </p:cNvPicPr>
          <p:nvPr/>
        </p:nvPicPr>
        <p:blipFill rotWithShape="1">
          <a:blip r:embed="rId4"/>
          <a:srcRect l="13921" r="8458"/>
          <a:stretch/>
        </p:blipFill>
        <p:spPr>
          <a:xfrm>
            <a:off x="5192735" y="1637755"/>
            <a:ext cx="3744335" cy="2231219"/>
          </a:xfrm>
          <a:prstGeom prst="rect">
            <a:avLst/>
          </a:prstGeom>
        </p:spPr>
      </p:pic>
    </p:spTree>
    <p:extLst>
      <p:ext uri="{BB962C8B-B14F-4D97-AF65-F5344CB8AC3E}">
        <p14:creationId xmlns:p14="http://schemas.microsoft.com/office/powerpoint/2010/main" val="18477035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4">
            <a:extLst>
              <a:ext uri="{FF2B5EF4-FFF2-40B4-BE49-F238E27FC236}">
                <a16:creationId xmlns:a16="http://schemas.microsoft.com/office/drawing/2014/main" id="{27858C3C-DBCA-423A-A53A-00721AF5F6D5}"/>
              </a:ext>
            </a:extLst>
          </p:cNvPr>
          <p:cNvSpPr>
            <a:spLocks noChangeArrowheads="1"/>
          </p:cNvSpPr>
          <p:nvPr/>
        </p:nvSpPr>
        <p:spPr bwMode="gray">
          <a:xfrm>
            <a:off x="4221" y="1503297"/>
            <a:ext cx="3390892" cy="4377845"/>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defTabSz="672013">
              <a:defRPr/>
            </a:pPr>
            <a:endParaRPr lang="en-US" sz="1103" dirty="0">
              <a:solidFill>
                <a:prstClr val="black"/>
              </a:solidFill>
              <a:latin typeface="Arial"/>
            </a:endParaRPr>
          </a:p>
        </p:txBody>
      </p:sp>
      <p:sp>
        <p:nvSpPr>
          <p:cNvPr id="7" name="Rectangle 8">
            <a:extLst>
              <a:ext uri="{FF2B5EF4-FFF2-40B4-BE49-F238E27FC236}">
                <a16:creationId xmlns:a16="http://schemas.microsoft.com/office/drawing/2014/main" id="{6629F0D9-0975-4947-A313-D8EDD1E7258A}"/>
              </a:ext>
            </a:extLst>
          </p:cNvPr>
          <p:cNvSpPr txBox="1"/>
          <p:nvPr/>
        </p:nvSpPr>
        <p:spPr>
          <a:xfrm>
            <a:off x="274099" y="1661512"/>
            <a:ext cx="2976708" cy="228466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defTabSz="658012">
              <a:lnSpc>
                <a:spcPct val="150000"/>
              </a:lnSpc>
              <a:spcBef>
                <a:spcPts val="450"/>
              </a:spcBef>
              <a:buClr>
                <a:srgbClr val="39302A"/>
              </a:buClr>
              <a:buNone/>
              <a:defRPr/>
            </a:pPr>
            <a:r>
              <a:rPr lang="en-US" sz="1176" dirty="0">
                <a:solidFill>
                  <a:prstClr val="black"/>
                </a:solidFill>
                <a:latin typeface="Arial"/>
                <a:ea typeface="Arial"/>
                <a:cs typeface="Arial"/>
                <a:sym typeface="Arial"/>
              </a:rPr>
              <a:t>Every quarter, the ALMA scorecard and a country-specific report with recommended actions is disseminated to:</a:t>
            </a:r>
          </a:p>
          <a:p>
            <a:pPr marL="210026" lvl="1" indent="-210026" defTabSz="658012">
              <a:spcBef>
                <a:spcPts val="450"/>
              </a:spcBef>
              <a:buClr>
                <a:srgbClr val="39302A"/>
              </a:buClr>
              <a:defRPr/>
            </a:pPr>
            <a:r>
              <a:rPr lang="en-US" sz="1176" dirty="0">
                <a:solidFill>
                  <a:prstClr val="black"/>
                </a:solidFill>
                <a:latin typeface="Arial"/>
                <a:ea typeface="Arial"/>
                <a:cs typeface="Arial"/>
                <a:sym typeface="Arial"/>
              </a:rPr>
              <a:t>Head of State and Government </a:t>
            </a:r>
          </a:p>
          <a:p>
            <a:pPr marL="210026" lvl="1" indent="-210026" defTabSz="658012">
              <a:spcBef>
                <a:spcPts val="450"/>
              </a:spcBef>
              <a:buClr>
                <a:srgbClr val="39302A"/>
              </a:buClr>
              <a:defRPr/>
            </a:pPr>
            <a:r>
              <a:rPr lang="en-US" sz="1176" dirty="0">
                <a:solidFill>
                  <a:prstClr val="black"/>
                </a:solidFill>
                <a:latin typeface="Arial"/>
                <a:ea typeface="Arial"/>
                <a:cs typeface="Arial"/>
                <a:sym typeface="Arial"/>
              </a:rPr>
              <a:t>Minister of Health </a:t>
            </a:r>
          </a:p>
          <a:p>
            <a:pPr marL="210026" lvl="1" indent="-210026" defTabSz="658012">
              <a:spcBef>
                <a:spcPts val="450"/>
              </a:spcBef>
              <a:buClr>
                <a:srgbClr val="39302A"/>
              </a:buClr>
              <a:defRPr/>
            </a:pPr>
            <a:r>
              <a:rPr lang="en-US" sz="1176" dirty="0">
                <a:solidFill>
                  <a:prstClr val="black"/>
                </a:solidFill>
                <a:latin typeface="Arial"/>
                <a:ea typeface="Arial"/>
                <a:cs typeface="Arial"/>
                <a:sym typeface="Arial"/>
              </a:rPr>
              <a:t>Minister of Finance</a:t>
            </a:r>
          </a:p>
          <a:p>
            <a:pPr marL="210026" lvl="1" indent="-210026" defTabSz="658012">
              <a:spcBef>
                <a:spcPts val="450"/>
              </a:spcBef>
              <a:buClr>
                <a:srgbClr val="39302A"/>
              </a:buClr>
              <a:defRPr/>
            </a:pPr>
            <a:r>
              <a:rPr lang="en-US" sz="1176" dirty="0">
                <a:solidFill>
                  <a:prstClr val="black"/>
                </a:solidFill>
                <a:latin typeface="Arial"/>
                <a:ea typeface="Arial"/>
                <a:cs typeface="Arial"/>
                <a:sym typeface="Arial"/>
              </a:rPr>
              <a:t>Minister of Foreign Affairs </a:t>
            </a:r>
          </a:p>
          <a:p>
            <a:pPr marL="210026" lvl="1" indent="-210026" defTabSz="658012">
              <a:spcBef>
                <a:spcPts val="450"/>
              </a:spcBef>
              <a:buClr>
                <a:srgbClr val="39302A"/>
              </a:buClr>
              <a:defRPr/>
            </a:pPr>
            <a:r>
              <a:rPr lang="en-US" sz="1176" dirty="0">
                <a:solidFill>
                  <a:prstClr val="black"/>
                </a:solidFill>
                <a:latin typeface="Arial"/>
                <a:ea typeface="Arial"/>
                <a:cs typeface="Arial"/>
                <a:sym typeface="Arial"/>
              </a:rPr>
              <a:t>Ambassadors to the AU and UN</a:t>
            </a:r>
          </a:p>
          <a:p>
            <a:pPr marL="0" lvl="1" indent="0" defTabSz="658012">
              <a:spcBef>
                <a:spcPts val="450"/>
              </a:spcBef>
              <a:buClr>
                <a:srgbClr val="39302A"/>
              </a:buClr>
              <a:buNone/>
              <a:defRPr/>
            </a:pPr>
            <a:endParaRPr lang="en-US" sz="1176" dirty="0">
              <a:solidFill>
                <a:prstClr val="black"/>
              </a:solidFill>
              <a:latin typeface="Arial"/>
              <a:ea typeface="Arial"/>
              <a:cs typeface="Arial"/>
              <a:sym typeface="Arial"/>
            </a:endParaRPr>
          </a:p>
        </p:txBody>
      </p:sp>
      <p:pic>
        <p:nvPicPr>
          <p:cNvPr id="3" name="Picture 2">
            <a:extLst>
              <a:ext uri="{FF2B5EF4-FFF2-40B4-BE49-F238E27FC236}">
                <a16:creationId xmlns:a16="http://schemas.microsoft.com/office/drawing/2014/main" id="{8D8346E0-84AA-41A4-922A-4281D2263321}"/>
              </a:ext>
            </a:extLst>
          </p:cNvPr>
          <p:cNvPicPr>
            <a:picLocks noChangeAspect="1"/>
          </p:cNvPicPr>
          <p:nvPr/>
        </p:nvPicPr>
        <p:blipFill>
          <a:blip r:embed="rId2"/>
          <a:stretch>
            <a:fillRect/>
          </a:stretch>
        </p:blipFill>
        <p:spPr>
          <a:xfrm>
            <a:off x="274098" y="3904852"/>
            <a:ext cx="2835588" cy="1697100"/>
          </a:xfrm>
          <a:prstGeom prst="rect">
            <a:avLst/>
          </a:prstGeom>
        </p:spPr>
      </p:pic>
      <p:sp>
        <p:nvSpPr>
          <p:cNvPr id="4" name="Text Placeholder 3">
            <a:extLst>
              <a:ext uri="{FF2B5EF4-FFF2-40B4-BE49-F238E27FC236}">
                <a16:creationId xmlns:a16="http://schemas.microsoft.com/office/drawing/2014/main" id="{645B608D-9D16-4B24-8907-15828B56A5AD}"/>
              </a:ext>
            </a:extLst>
          </p:cNvPr>
          <p:cNvSpPr>
            <a:spLocks noGrp="1"/>
          </p:cNvSpPr>
          <p:nvPr>
            <p:ph type="body" sz="quarter" idx="17"/>
          </p:nvPr>
        </p:nvSpPr>
        <p:spPr>
          <a:xfrm>
            <a:off x="154261" y="6433800"/>
            <a:ext cx="6911276" cy="101823"/>
          </a:xfrm>
        </p:spPr>
        <p:txBody>
          <a:bodyPr/>
          <a:lstStyle/>
          <a:p>
            <a:r>
              <a:rPr lang="en-US" dirty="0"/>
              <a:t>Access scorecards on </a:t>
            </a:r>
            <a:r>
              <a:rPr lang="en-US" dirty="0">
                <a:hlinkClick r:id="rId3"/>
              </a:rPr>
              <a:t>www.scorecardhub.org</a:t>
            </a:r>
            <a:r>
              <a:rPr lang="en-US" dirty="0"/>
              <a:t> and access quarterly reports on </a:t>
            </a:r>
            <a:r>
              <a:rPr lang="en-US" dirty="0">
                <a:hlinkClick r:id="rId4"/>
              </a:rPr>
              <a:t>www.alma2030.org</a:t>
            </a:r>
            <a:r>
              <a:rPr lang="en-US" dirty="0"/>
              <a:t> </a:t>
            </a:r>
          </a:p>
        </p:txBody>
      </p:sp>
      <p:sp>
        <p:nvSpPr>
          <p:cNvPr id="9" name="Title 1">
            <a:extLst>
              <a:ext uri="{FF2B5EF4-FFF2-40B4-BE49-F238E27FC236}">
                <a16:creationId xmlns:a16="http://schemas.microsoft.com/office/drawing/2014/main" id="{19A0AD6D-EBB6-4213-9D9B-E773D7B1A76B}"/>
              </a:ext>
            </a:extLst>
          </p:cNvPr>
          <p:cNvSpPr>
            <a:spLocks noGrp="1"/>
          </p:cNvSpPr>
          <p:nvPr>
            <p:ph type="title" idx="4294967295"/>
          </p:nvPr>
        </p:nvSpPr>
        <p:spPr>
          <a:xfrm>
            <a:off x="154261" y="449301"/>
            <a:ext cx="8918575" cy="854075"/>
          </a:xfrm>
        </p:spPr>
        <p:txBody>
          <a:bodyPr>
            <a:normAutofit fontScale="90000"/>
          </a:bodyPr>
          <a:lstStyle/>
          <a:p>
            <a:r>
              <a:rPr lang="en-US" sz="3100" dirty="0">
                <a:latin typeface="Arial" panose="020B0604020202020204" pitchFamily="34" charset="0"/>
                <a:cs typeface="Arial" panose="020B0604020202020204" pitchFamily="34" charset="0"/>
              </a:rPr>
              <a:t>Strengthening accountability and action through the ALMA Scorecard for Accountability and Action…</a:t>
            </a:r>
            <a:br>
              <a:rPr lang="en-US" dirty="0">
                <a:latin typeface="Arial" panose="020B0604020202020204" pitchFamily="34" charset="0"/>
                <a:cs typeface="Arial" panose="020B0604020202020204" pitchFamily="34" charset="0"/>
              </a:rPr>
            </a:br>
            <a:endParaRPr lang="en-ZA"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76D2101B-C3B7-4853-93AA-D2EA88BC5EC8}"/>
              </a:ext>
            </a:extLst>
          </p:cNvPr>
          <p:cNvSpPr txBox="1"/>
          <p:nvPr/>
        </p:nvSpPr>
        <p:spPr>
          <a:xfrm>
            <a:off x="4274570" y="5330484"/>
            <a:ext cx="4584377" cy="295915"/>
          </a:xfrm>
          <a:prstGeom prst="rect">
            <a:avLst/>
          </a:prstGeom>
          <a:noFill/>
        </p:spPr>
        <p:txBody>
          <a:bodyPr wrap="square">
            <a:spAutoFit/>
          </a:bodyPr>
          <a:lstStyle/>
          <a:p>
            <a:pPr marL="0" lvl="1" defTabSz="658012">
              <a:spcBef>
                <a:spcPts val="450"/>
              </a:spcBef>
              <a:buClr>
                <a:srgbClr val="39302A"/>
              </a:buClr>
              <a:defRPr/>
            </a:pPr>
            <a:r>
              <a:rPr lang="en-US" sz="1323" dirty="0">
                <a:latin typeface="Arial"/>
                <a:ea typeface="Arial"/>
                <a:cs typeface="Arial"/>
                <a:sym typeface="Arial"/>
              </a:rPr>
              <a:t>&gt;80% response rate on due actions each quarter</a:t>
            </a:r>
            <a:endParaRPr lang="en-US" sz="1323" dirty="0">
              <a:solidFill>
                <a:srgbClr val="FF0000"/>
              </a:solidFill>
              <a:latin typeface="Arial"/>
              <a:ea typeface="Arial"/>
              <a:cs typeface="Arial"/>
              <a:sym typeface="Arial"/>
            </a:endParaRPr>
          </a:p>
        </p:txBody>
      </p:sp>
      <p:pic>
        <p:nvPicPr>
          <p:cNvPr id="8" name="Picture 7">
            <a:extLst>
              <a:ext uri="{FF2B5EF4-FFF2-40B4-BE49-F238E27FC236}">
                <a16:creationId xmlns:a16="http://schemas.microsoft.com/office/drawing/2014/main" id="{F92AA301-4235-4C4E-9F05-51A7C93B2AD2}"/>
              </a:ext>
            </a:extLst>
          </p:cNvPr>
          <p:cNvPicPr>
            <a:picLocks noChangeAspect="1"/>
          </p:cNvPicPr>
          <p:nvPr/>
        </p:nvPicPr>
        <p:blipFill>
          <a:blip r:embed="rId5"/>
          <a:stretch>
            <a:fillRect/>
          </a:stretch>
        </p:blipFill>
        <p:spPr>
          <a:xfrm>
            <a:off x="3440602" y="1503297"/>
            <a:ext cx="5520835" cy="3335442"/>
          </a:xfrm>
          <a:prstGeom prst="rect">
            <a:avLst/>
          </a:prstGeom>
        </p:spPr>
      </p:pic>
    </p:spTree>
    <p:extLst>
      <p:ext uri="{BB962C8B-B14F-4D97-AF65-F5344CB8AC3E}">
        <p14:creationId xmlns:p14="http://schemas.microsoft.com/office/powerpoint/2010/main" val="32730365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19EE97-56EC-447B-A274-17A895E00CCB}"/>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5656387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658150" y="376382"/>
            <a:ext cx="7700325"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Country Scorecard Management Tools</a:t>
            </a:r>
            <a:endParaRPr lang="en-GB" dirty="0"/>
          </a:p>
        </p:txBody>
      </p:sp>
      <p:sp>
        <p:nvSpPr>
          <p:cNvPr id="7" name="Text Placeholder 5">
            <a:extLst>
              <a:ext uri="{FF2B5EF4-FFF2-40B4-BE49-F238E27FC236}">
                <a16:creationId xmlns:a16="http://schemas.microsoft.com/office/drawing/2014/main" id="{ECA8648C-C381-4BF7-85FC-088E65DBA72B}"/>
              </a:ext>
            </a:extLst>
          </p:cNvPr>
          <p:cNvSpPr txBox="1">
            <a:spLocks/>
          </p:cNvSpPr>
          <p:nvPr/>
        </p:nvSpPr>
        <p:spPr>
          <a:xfrm>
            <a:off x="451003" y="1130704"/>
            <a:ext cx="8058583" cy="166507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ct val="100000"/>
              </a:lnSpc>
              <a:spcBef>
                <a:spcPts val="196"/>
              </a:spcBef>
              <a:spcAft>
                <a:spcPts val="392"/>
              </a:spcAft>
              <a:buFont typeface="Arial" panose="020B0604020202020204" pitchFamily="34" charset="0"/>
              <a:buChar char="•"/>
            </a:pPr>
            <a:r>
              <a:rPr lang="en-US" sz="1470" dirty="0">
                <a:solidFill>
                  <a:schemeClr val="bg2">
                    <a:lumMod val="10000"/>
                  </a:schemeClr>
                </a:solidFill>
              </a:rPr>
              <a:t>A colour-coded </a:t>
            </a:r>
            <a:r>
              <a:rPr lang="en-US" sz="1470" b="1" dirty="0">
                <a:solidFill>
                  <a:schemeClr val="accent3"/>
                </a:solidFill>
              </a:rPr>
              <a:t>management tool</a:t>
            </a:r>
            <a:r>
              <a:rPr lang="en-US" sz="1470" dirty="0">
                <a:solidFill>
                  <a:schemeClr val="bg2">
                    <a:lumMod val="10000"/>
                  </a:schemeClr>
                </a:solidFill>
              </a:rPr>
              <a:t> that helps countries track performance of priority indicators from their strategic plan.</a:t>
            </a:r>
          </a:p>
          <a:p>
            <a:pPr marL="280035" indent="-280035">
              <a:lnSpc>
                <a:spcPct val="100000"/>
              </a:lnSpc>
              <a:spcBef>
                <a:spcPts val="196"/>
              </a:spcBef>
              <a:spcAft>
                <a:spcPts val="392"/>
              </a:spcAft>
              <a:buFont typeface="Arial" panose="020B0604020202020204" pitchFamily="34" charset="0"/>
              <a:buChar char="•"/>
            </a:pPr>
            <a:r>
              <a:rPr lang="en-US" sz="1470" b="1" dirty="0">
                <a:solidFill>
                  <a:schemeClr val="accent3"/>
                </a:solidFill>
              </a:rPr>
              <a:t>Country-owned</a:t>
            </a:r>
            <a:r>
              <a:rPr lang="en-US" sz="1470" dirty="0">
                <a:solidFill>
                  <a:schemeClr val="bg2">
                    <a:lumMod val="10000"/>
                  </a:schemeClr>
                </a:solidFill>
              </a:rPr>
              <a:t> and managed.</a:t>
            </a:r>
          </a:p>
          <a:p>
            <a:pPr marL="280035" indent="-280035">
              <a:lnSpc>
                <a:spcPct val="100000"/>
              </a:lnSpc>
              <a:spcBef>
                <a:spcPts val="196"/>
              </a:spcBef>
              <a:spcAft>
                <a:spcPts val="392"/>
              </a:spcAft>
              <a:buFont typeface="Arial" panose="020B0604020202020204" pitchFamily="34" charset="0"/>
              <a:buChar char="•"/>
            </a:pPr>
            <a:r>
              <a:rPr lang="en-US" sz="1470" dirty="0">
                <a:solidFill>
                  <a:schemeClr val="bg2">
                    <a:lumMod val="10000"/>
                  </a:schemeClr>
                </a:solidFill>
              </a:rPr>
              <a:t>Uses </a:t>
            </a:r>
            <a:r>
              <a:rPr lang="en-US" sz="1470" b="1" dirty="0">
                <a:solidFill>
                  <a:schemeClr val="accent3"/>
                </a:solidFill>
              </a:rPr>
              <a:t>existing quarterly data</a:t>
            </a:r>
            <a:r>
              <a:rPr lang="en-US" sz="1470" dirty="0">
                <a:solidFill>
                  <a:schemeClr val="bg2">
                    <a:lumMod val="10000"/>
                  </a:schemeClr>
                </a:solidFill>
              </a:rPr>
              <a:t> from routine sources like DHIS2 and surveys</a:t>
            </a:r>
          </a:p>
          <a:p>
            <a:pPr marL="280035" indent="-280035">
              <a:lnSpc>
                <a:spcPct val="100000"/>
              </a:lnSpc>
              <a:spcBef>
                <a:spcPts val="196"/>
              </a:spcBef>
              <a:spcAft>
                <a:spcPts val="392"/>
              </a:spcAft>
              <a:buFont typeface="Arial" panose="020B0604020202020204" pitchFamily="34" charset="0"/>
              <a:buChar char="•"/>
            </a:pPr>
            <a:r>
              <a:rPr lang="en-US" sz="1470" dirty="0">
                <a:solidFill>
                  <a:schemeClr val="bg2">
                    <a:lumMod val="10000"/>
                  </a:schemeClr>
                </a:solidFill>
              </a:rPr>
              <a:t>Integrated into </a:t>
            </a:r>
            <a:r>
              <a:rPr lang="en-US" sz="1470" b="1" dirty="0">
                <a:solidFill>
                  <a:schemeClr val="accent3"/>
                </a:solidFill>
              </a:rPr>
              <a:t>existing management processes</a:t>
            </a:r>
            <a:r>
              <a:rPr lang="en-US" sz="1470" dirty="0">
                <a:solidFill>
                  <a:schemeClr val="bg2">
                    <a:lumMod val="10000"/>
                  </a:schemeClr>
                </a:solidFill>
              </a:rPr>
              <a:t>.</a:t>
            </a:r>
          </a:p>
          <a:p>
            <a:pPr marL="280035" indent="-280035">
              <a:lnSpc>
                <a:spcPct val="100000"/>
              </a:lnSpc>
              <a:spcBef>
                <a:spcPts val="196"/>
              </a:spcBef>
              <a:spcAft>
                <a:spcPts val="392"/>
              </a:spcAft>
              <a:buFont typeface="Arial" panose="020B0604020202020204" pitchFamily="34" charset="0"/>
              <a:buChar char="•"/>
            </a:pPr>
            <a:r>
              <a:rPr lang="en-US" sz="1470" dirty="0">
                <a:solidFill>
                  <a:schemeClr val="bg2">
                    <a:lumMod val="10000"/>
                  </a:schemeClr>
                </a:solidFill>
              </a:rPr>
              <a:t>Used for </a:t>
            </a:r>
            <a:r>
              <a:rPr lang="en-US" sz="1470" b="1" dirty="0">
                <a:solidFill>
                  <a:schemeClr val="accent3"/>
                </a:solidFill>
              </a:rPr>
              <a:t>action, accountability and advocacy</a:t>
            </a:r>
            <a:r>
              <a:rPr lang="en-US" sz="1470" dirty="0">
                <a:solidFill>
                  <a:schemeClr val="bg2">
                    <a:lumMod val="10000"/>
                  </a:schemeClr>
                </a:solidFill>
              </a:rPr>
              <a:t> at national and subnational levels</a:t>
            </a:r>
          </a:p>
        </p:txBody>
      </p:sp>
      <p:pic>
        <p:nvPicPr>
          <p:cNvPr id="4" name="Picture 3">
            <a:extLst>
              <a:ext uri="{FF2B5EF4-FFF2-40B4-BE49-F238E27FC236}">
                <a16:creationId xmlns:a16="http://schemas.microsoft.com/office/drawing/2014/main" id="{4EA56359-AF6E-4141-94B2-5CA6F3D1A8FC}"/>
              </a:ext>
            </a:extLst>
          </p:cNvPr>
          <p:cNvPicPr>
            <a:picLocks noChangeAspect="1"/>
          </p:cNvPicPr>
          <p:nvPr/>
        </p:nvPicPr>
        <p:blipFill>
          <a:blip r:embed="rId3"/>
          <a:stretch>
            <a:fillRect/>
          </a:stretch>
        </p:blipFill>
        <p:spPr>
          <a:xfrm>
            <a:off x="0" y="3301608"/>
            <a:ext cx="8961438" cy="2634393"/>
          </a:xfrm>
          <a:prstGeom prst="rect">
            <a:avLst/>
          </a:prstGeom>
        </p:spPr>
      </p:pic>
    </p:spTree>
    <p:custDataLst>
      <p:tags r:id="rId1"/>
    </p:custDataLst>
    <p:extLst>
      <p:ext uri="{BB962C8B-B14F-4D97-AF65-F5344CB8AC3E}">
        <p14:creationId xmlns:p14="http://schemas.microsoft.com/office/powerpoint/2010/main" val="1320001720"/>
      </p:ext>
    </p:extLst>
  </p:cSld>
  <p:clrMapOvr>
    <a:masterClrMapping/>
  </p:clrMapOvr>
  <mc:AlternateContent xmlns:mc="http://schemas.openxmlformats.org/markup-compatibility/2006" xmlns:p14="http://schemas.microsoft.com/office/powerpoint/2010/main">
    <mc:Choice Requires="p14">
      <p:transition spd="slow" p14:dur="2000" advTm="45124"/>
    </mc:Choice>
    <mc:Fallback xmlns="">
      <p:transition spd="slow" advTm="4512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7"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530" y="398"/>
          <a:ext cx="158730" cy="158730"/>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0" y="398"/>
                        <a:ext cx="158730"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177427" y="197326"/>
            <a:ext cx="7559621" cy="830997"/>
          </a:xfrm>
        </p:spPr>
        <p:txBody>
          <a:bodyPr/>
          <a:lstStyle/>
          <a:p>
            <a:pPr>
              <a:buClrTx/>
            </a:pPr>
            <a:r>
              <a:rPr lang="en-US" sz="1800" dirty="0"/>
              <a:t>ALMA has assisted countries across Africa in the development and strengthening of national Malaria, RMNCAH, and NTD scorecards</a:t>
            </a:r>
            <a:endParaRPr lang="en-US" altLang="en-US" sz="1800" dirty="0">
              <a:solidFill>
                <a:schemeClr val="accent4"/>
              </a:solidFill>
              <a:cs typeface="Arial" panose="020B0604020202020204" pitchFamily="34" charset="0"/>
            </a:endParaRPr>
          </a:p>
        </p:txBody>
      </p:sp>
      <p:sp>
        <p:nvSpPr>
          <p:cNvPr id="17" name="Rectangle 10"/>
          <p:cNvSpPr>
            <a:spLocks noChangeArrowheads="1"/>
          </p:cNvSpPr>
          <p:nvPr/>
        </p:nvSpPr>
        <p:spPr bwMode="gray">
          <a:xfrm>
            <a:off x="349471" y="2208988"/>
            <a:ext cx="3148084" cy="2305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228600"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228600"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228600"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50000"/>
              </a:spcBef>
            </a:pPr>
            <a:r>
              <a:rPr lang="en-US" sz="1498" b="1" dirty="0">
                <a:solidFill>
                  <a:schemeClr val="bg1"/>
                </a:solidFill>
              </a:rPr>
              <a:t>Objectives</a:t>
            </a:r>
          </a:p>
          <a:p>
            <a:pPr lvl="1" eaLnBrk="1" hangingPunct="1">
              <a:spcBef>
                <a:spcPct val="50000"/>
              </a:spcBef>
              <a:buClr>
                <a:schemeClr val="bg1"/>
              </a:buClr>
            </a:pPr>
            <a:r>
              <a:rPr lang="en-US" sz="1498" b="1" dirty="0">
                <a:solidFill>
                  <a:schemeClr val="bg1"/>
                </a:solidFill>
              </a:rPr>
              <a:t>ALMA Heads of State and Government prioritize malaria control and elimination</a:t>
            </a:r>
          </a:p>
          <a:p>
            <a:pPr lvl="1" eaLnBrk="1" hangingPunct="1">
              <a:spcBef>
                <a:spcPct val="50000"/>
              </a:spcBef>
              <a:buClr>
                <a:schemeClr val="bg1"/>
              </a:buClr>
            </a:pPr>
            <a:r>
              <a:rPr lang="en-US" sz="1498" b="1" dirty="0">
                <a:solidFill>
                  <a:schemeClr val="bg1"/>
                </a:solidFill>
              </a:rPr>
              <a:t>Malaria is maintained high on the political and policy agenda at national level in ALMA member countries &amp; across the region</a:t>
            </a:r>
            <a:endParaRPr lang="en-US" altLang="en-US" sz="1498" b="1" dirty="0">
              <a:solidFill>
                <a:schemeClr val="bg1"/>
              </a:solidFill>
              <a:cs typeface="Arial" panose="020B0604020202020204" pitchFamily="34" charset="0"/>
            </a:endParaRPr>
          </a:p>
        </p:txBody>
      </p:sp>
      <p:sp>
        <p:nvSpPr>
          <p:cNvPr id="29" name="TextBox 6"/>
          <p:cNvSpPr txBox="1"/>
          <p:nvPr>
            <p:custDataLst>
              <p:tags r:id="rId3"/>
            </p:custDataLst>
          </p:nvPr>
        </p:nvSpPr>
        <p:spPr>
          <a:xfrm>
            <a:off x="128303" y="1101487"/>
            <a:ext cx="4326328" cy="5245356"/>
          </a:xfrm>
          <a:prstGeom prst="rect">
            <a:avLst/>
          </a:prstGeom>
          <a:solidFill>
            <a:schemeClr val="bg1">
              <a:lumMod val="95000"/>
            </a:schemeClr>
          </a:solidFill>
          <a:ln w="19050">
            <a:noFill/>
          </a:ln>
          <a:scene3d>
            <a:camera prst="orthographicFront"/>
            <a:lightRig rig="threePt" dir="t"/>
          </a:scene3d>
          <a:sp3d>
            <a:bevelT/>
          </a:sp3d>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800" dirty="0"/>
          </a:p>
        </p:txBody>
      </p:sp>
      <p:sp>
        <p:nvSpPr>
          <p:cNvPr id="30" name="Rectangle 2"/>
          <p:cNvSpPr txBox="1"/>
          <p:nvPr/>
        </p:nvSpPr>
        <p:spPr>
          <a:xfrm>
            <a:off x="187518" y="868944"/>
            <a:ext cx="4134558" cy="52275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fr-FR" sz="1470" dirty="0"/>
          </a:p>
          <a:p>
            <a:pPr marL="285720" lvl="1" indent="-195242" defTabSz="895255">
              <a:spcBef>
                <a:spcPct val="50000"/>
              </a:spcBef>
              <a:buClr>
                <a:srgbClr val="39302A"/>
              </a:buClr>
              <a:buFont typeface="Wingdings" panose="05000000000000000000" pitchFamily="2" charset="2"/>
              <a:buChar char="§"/>
              <a:defRPr/>
            </a:pPr>
            <a:r>
              <a:rPr lang="en-US" sz="1300" dirty="0">
                <a:solidFill>
                  <a:srgbClr val="000000"/>
                </a:solidFill>
              </a:rPr>
              <a:t>Between 2012 and 2021 ALMA has supported the development of: </a:t>
            </a:r>
          </a:p>
          <a:p>
            <a:pPr marL="628767" lvl="2" indent="-280035" defTabSz="895255">
              <a:spcBef>
                <a:spcPct val="50000"/>
              </a:spcBef>
              <a:buClr>
                <a:srgbClr val="39302A"/>
              </a:buClr>
              <a:buFont typeface="Wingdings" panose="05000000000000000000" pitchFamily="2" charset="2"/>
              <a:buChar char="ü"/>
              <a:defRPr/>
            </a:pPr>
            <a:r>
              <a:rPr lang="en-US" sz="1300" b="1" dirty="0"/>
              <a:t>29</a:t>
            </a:r>
            <a:r>
              <a:rPr lang="en-US" sz="1300" dirty="0"/>
              <a:t> RMNCAH Scorecards</a:t>
            </a:r>
          </a:p>
          <a:p>
            <a:pPr marL="628767" lvl="2" indent="-280035" defTabSz="895255">
              <a:spcBef>
                <a:spcPct val="50000"/>
              </a:spcBef>
              <a:buClr>
                <a:srgbClr val="39302A"/>
              </a:buClr>
              <a:buFont typeface="Wingdings" panose="05000000000000000000" pitchFamily="2" charset="2"/>
              <a:buChar char="ü"/>
              <a:defRPr/>
            </a:pPr>
            <a:r>
              <a:rPr lang="en-US" sz="1300" b="1" dirty="0"/>
              <a:t>40</a:t>
            </a:r>
            <a:r>
              <a:rPr lang="en-US" sz="1300" dirty="0"/>
              <a:t> malaria Scorecards</a:t>
            </a:r>
          </a:p>
          <a:p>
            <a:pPr marL="628767" lvl="2" indent="-280035" defTabSz="895255">
              <a:spcBef>
                <a:spcPct val="50000"/>
              </a:spcBef>
              <a:buClr>
                <a:srgbClr val="39302A"/>
              </a:buClr>
              <a:buFont typeface="Wingdings" panose="05000000000000000000" pitchFamily="2" charset="2"/>
              <a:buChar char="ü"/>
              <a:defRPr/>
            </a:pPr>
            <a:r>
              <a:rPr lang="en-US" sz="1300" b="1" dirty="0"/>
              <a:t>6</a:t>
            </a:r>
            <a:r>
              <a:rPr lang="en-US" sz="1300" dirty="0"/>
              <a:t> NTD Scorecards</a:t>
            </a:r>
          </a:p>
          <a:p>
            <a:pPr marL="628767" lvl="2" indent="-280035" defTabSz="895255">
              <a:spcBef>
                <a:spcPct val="50000"/>
              </a:spcBef>
              <a:buClr>
                <a:srgbClr val="39302A"/>
              </a:buClr>
              <a:buFont typeface="Wingdings" panose="05000000000000000000" pitchFamily="2" charset="2"/>
              <a:buChar char="ü"/>
              <a:defRPr/>
            </a:pPr>
            <a:r>
              <a:rPr lang="en-US" sz="1300" b="1" dirty="0"/>
              <a:t>1</a:t>
            </a:r>
            <a:r>
              <a:rPr lang="en-US" sz="1300" dirty="0"/>
              <a:t> country with Malaria-NTD integrated scorecard</a:t>
            </a:r>
          </a:p>
          <a:p>
            <a:pPr marL="628767" lvl="2" indent="-280035" defTabSz="895255">
              <a:spcBef>
                <a:spcPct val="50000"/>
              </a:spcBef>
              <a:buClr>
                <a:srgbClr val="39302A"/>
              </a:buClr>
              <a:buFont typeface="Wingdings" panose="05000000000000000000" pitchFamily="2" charset="2"/>
              <a:buChar char="ü"/>
              <a:defRPr/>
            </a:pPr>
            <a:r>
              <a:rPr lang="en-US" sz="1300" b="1" dirty="0"/>
              <a:t>4</a:t>
            </a:r>
            <a:r>
              <a:rPr lang="en-US" sz="1300" dirty="0"/>
              <a:t> Community Scorecards</a:t>
            </a:r>
          </a:p>
          <a:p>
            <a:pPr marL="628767" lvl="2" indent="-280035" defTabSz="895255">
              <a:spcBef>
                <a:spcPct val="50000"/>
              </a:spcBef>
              <a:buClr>
                <a:srgbClr val="39302A"/>
              </a:buClr>
              <a:buFont typeface="Wingdings" panose="05000000000000000000" pitchFamily="2" charset="2"/>
              <a:buChar char="ü"/>
              <a:defRPr/>
            </a:pPr>
            <a:r>
              <a:rPr lang="en-US" sz="1300" b="1" dirty="0"/>
              <a:t>2</a:t>
            </a:r>
            <a:r>
              <a:rPr lang="en-US" sz="1300" dirty="0"/>
              <a:t> Nutrition Scorecard (AFDB and TZ)</a:t>
            </a:r>
          </a:p>
          <a:p>
            <a:pPr marL="285720" lvl="1" indent="-195242" defTabSz="895255">
              <a:spcBef>
                <a:spcPct val="50000"/>
              </a:spcBef>
              <a:buClr>
                <a:srgbClr val="39302A"/>
              </a:buClr>
              <a:buFont typeface="Wingdings" panose="05000000000000000000" pitchFamily="2" charset="2"/>
              <a:buChar char="§"/>
              <a:defRPr/>
            </a:pPr>
            <a:r>
              <a:rPr lang="en-US" sz="1300" dirty="0">
                <a:solidFill>
                  <a:srgbClr val="000000"/>
                </a:solidFill>
              </a:rPr>
              <a:t>Scorecards are updated quarterly and integrated into existing management and decision making processes</a:t>
            </a:r>
            <a:endParaRPr lang="en-US" sz="1300" dirty="0"/>
          </a:p>
          <a:p>
            <a:pPr marL="285720" lvl="1" indent="-195242" defTabSz="895255">
              <a:spcBef>
                <a:spcPct val="50000"/>
              </a:spcBef>
              <a:buClr>
                <a:srgbClr val="39302A"/>
              </a:buClr>
              <a:buFont typeface="Wingdings" panose="05000000000000000000" pitchFamily="2" charset="2"/>
              <a:buChar char="§"/>
              <a:defRPr/>
            </a:pPr>
            <a:r>
              <a:rPr lang="en-US" sz="1300" dirty="0">
                <a:solidFill>
                  <a:prstClr val="black"/>
                </a:solidFill>
              </a:rPr>
              <a:t>ALMA has continuously supported the implementation and strengthening of country scorecards in order to:</a:t>
            </a:r>
          </a:p>
          <a:p>
            <a:pPr marL="639694" lvl="2" indent="-285720" defTabSz="895255">
              <a:spcBef>
                <a:spcPct val="50000"/>
              </a:spcBef>
              <a:buClr>
                <a:srgbClr val="39302A"/>
              </a:buClr>
              <a:buFont typeface="Wingdings" panose="05000000000000000000" pitchFamily="2" charset="2"/>
              <a:buChar char="ü"/>
              <a:defRPr/>
            </a:pPr>
            <a:r>
              <a:rPr lang="en-US" sz="1300" dirty="0">
                <a:solidFill>
                  <a:prstClr val="black"/>
                </a:solidFill>
              </a:rPr>
              <a:t>Strengthen the capacity to ensure sustained use of the tool </a:t>
            </a:r>
          </a:p>
          <a:p>
            <a:pPr marL="639694" lvl="2" indent="-285720" defTabSz="895255">
              <a:spcBef>
                <a:spcPct val="50000"/>
              </a:spcBef>
              <a:buClr>
                <a:srgbClr val="39302A"/>
              </a:buClr>
              <a:buFont typeface="Wingdings" panose="05000000000000000000" pitchFamily="2" charset="2"/>
              <a:buChar char="ü"/>
              <a:defRPr/>
            </a:pPr>
            <a:r>
              <a:rPr lang="en-US" sz="1300" dirty="0">
                <a:solidFill>
                  <a:prstClr val="black"/>
                </a:solidFill>
              </a:rPr>
              <a:t>Document best practices</a:t>
            </a:r>
          </a:p>
          <a:p>
            <a:pPr marL="639694" lvl="2" indent="-285720" defTabSz="895255">
              <a:spcBef>
                <a:spcPct val="50000"/>
              </a:spcBef>
              <a:buClr>
                <a:srgbClr val="39302A"/>
              </a:buClr>
              <a:buFont typeface="Wingdings" panose="05000000000000000000" pitchFamily="2" charset="2"/>
              <a:buChar char="ü"/>
              <a:defRPr/>
            </a:pPr>
            <a:r>
              <a:rPr lang="en-US" sz="1300" dirty="0">
                <a:solidFill>
                  <a:prstClr val="black"/>
                </a:solidFill>
              </a:rPr>
              <a:t>Provide additional support as needed</a:t>
            </a:r>
          </a:p>
        </p:txBody>
      </p:sp>
      <p:sp>
        <p:nvSpPr>
          <p:cNvPr id="109" name="TextBox 108">
            <a:extLst>
              <a:ext uri="{FF2B5EF4-FFF2-40B4-BE49-F238E27FC236}">
                <a16:creationId xmlns:a16="http://schemas.microsoft.com/office/drawing/2014/main" id="{17199A62-534B-4825-94F2-F43AD437A942}"/>
              </a:ext>
            </a:extLst>
          </p:cNvPr>
          <p:cNvSpPr txBox="1"/>
          <p:nvPr/>
        </p:nvSpPr>
        <p:spPr>
          <a:xfrm>
            <a:off x="5002199" y="5261260"/>
            <a:ext cx="514885" cy="213007"/>
          </a:xfrm>
          <a:prstGeom prst="rect">
            <a:avLst/>
          </a:prstGeom>
          <a:noFill/>
        </p:spPr>
        <p:txBody>
          <a:bodyPr wrap="none" rtlCol="0">
            <a:spAutoFit/>
          </a:bodyPr>
          <a:lstStyle/>
          <a:p>
            <a:pPr defTabSz="914206">
              <a:defRPr/>
            </a:pPr>
            <a:r>
              <a:rPr lang="en-US" sz="784" kern="0" dirty="0">
                <a:solidFill>
                  <a:prstClr val="black"/>
                </a:solidFill>
              </a:rPr>
              <a:t>Malaria</a:t>
            </a:r>
          </a:p>
        </p:txBody>
      </p:sp>
      <p:sp>
        <p:nvSpPr>
          <p:cNvPr id="110" name="Rectangle 109">
            <a:extLst>
              <a:ext uri="{FF2B5EF4-FFF2-40B4-BE49-F238E27FC236}">
                <a16:creationId xmlns:a16="http://schemas.microsoft.com/office/drawing/2014/main" id="{7BE545D6-9E0D-4DAB-AD74-471F86449608}"/>
              </a:ext>
            </a:extLst>
          </p:cNvPr>
          <p:cNvSpPr>
            <a:spLocks noChangeArrowheads="1"/>
          </p:cNvSpPr>
          <p:nvPr>
            <p:custDataLst>
              <p:tags r:id="rId4"/>
            </p:custDataLst>
          </p:nvPr>
        </p:nvSpPr>
        <p:spPr bwMode="gray">
          <a:xfrm>
            <a:off x="6674012" y="4112825"/>
            <a:ext cx="277320"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defTabSz="877257">
              <a:buClr>
                <a:srgbClr val="39302A"/>
              </a:buClr>
              <a:defRPr/>
            </a:pPr>
            <a:r>
              <a:rPr lang="en-US" sz="686" kern="0" dirty="0">
                <a:solidFill>
                  <a:prstClr val="white"/>
                </a:solidFill>
              </a:rPr>
              <a:t>Angola</a:t>
            </a:r>
          </a:p>
        </p:txBody>
      </p:sp>
      <p:sp>
        <p:nvSpPr>
          <p:cNvPr id="113" name="TextBox 112">
            <a:extLst>
              <a:ext uri="{FF2B5EF4-FFF2-40B4-BE49-F238E27FC236}">
                <a16:creationId xmlns:a16="http://schemas.microsoft.com/office/drawing/2014/main" id="{839E9E8F-3D41-4DA1-8C8A-9C0D56B0C0A0}"/>
              </a:ext>
            </a:extLst>
          </p:cNvPr>
          <p:cNvSpPr txBox="1"/>
          <p:nvPr/>
        </p:nvSpPr>
        <p:spPr>
          <a:xfrm>
            <a:off x="4999745" y="5782989"/>
            <a:ext cx="798617" cy="213007"/>
          </a:xfrm>
          <a:prstGeom prst="rect">
            <a:avLst/>
          </a:prstGeom>
          <a:noFill/>
        </p:spPr>
        <p:txBody>
          <a:bodyPr wrap="none" rtlCol="0">
            <a:spAutoFit/>
          </a:bodyPr>
          <a:lstStyle/>
          <a:p>
            <a:pPr defTabSz="914206">
              <a:defRPr/>
            </a:pPr>
            <a:r>
              <a:rPr lang="en-US" sz="784" kern="0" dirty="0">
                <a:solidFill>
                  <a:prstClr val="black"/>
                </a:solidFill>
              </a:rPr>
              <a:t>No Scorecard</a:t>
            </a:r>
          </a:p>
        </p:txBody>
      </p:sp>
      <p:sp>
        <p:nvSpPr>
          <p:cNvPr id="116" name="Rectangle 115">
            <a:extLst>
              <a:ext uri="{FF2B5EF4-FFF2-40B4-BE49-F238E27FC236}">
                <a16:creationId xmlns:a16="http://schemas.microsoft.com/office/drawing/2014/main" id="{731817E4-6057-4A9B-8CF0-563CAD1AD0B0}"/>
              </a:ext>
            </a:extLst>
          </p:cNvPr>
          <p:cNvSpPr/>
          <p:nvPr/>
        </p:nvSpPr>
        <p:spPr>
          <a:xfrm>
            <a:off x="4765542" y="5254700"/>
            <a:ext cx="210951" cy="188258"/>
          </a:xfrm>
          <a:prstGeom prst="rect">
            <a:avLst/>
          </a:prstGeom>
          <a:solidFill>
            <a:schemeClr val="accent1"/>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117" name="Rectangle 116">
            <a:extLst>
              <a:ext uri="{FF2B5EF4-FFF2-40B4-BE49-F238E27FC236}">
                <a16:creationId xmlns:a16="http://schemas.microsoft.com/office/drawing/2014/main" id="{5AF56098-3ABC-4A5A-9FD2-F2012923CA98}"/>
              </a:ext>
            </a:extLst>
          </p:cNvPr>
          <p:cNvSpPr/>
          <p:nvPr/>
        </p:nvSpPr>
        <p:spPr>
          <a:xfrm>
            <a:off x="4765542" y="4997801"/>
            <a:ext cx="210951" cy="200352"/>
          </a:xfrm>
          <a:prstGeom prst="rect">
            <a:avLst/>
          </a:prstGeom>
          <a:solidFill>
            <a:srgbClr val="6F0710"/>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118" name="Rectangle 117">
            <a:extLst>
              <a:ext uri="{FF2B5EF4-FFF2-40B4-BE49-F238E27FC236}">
                <a16:creationId xmlns:a16="http://schemas.microsoft.com/office/drawing/2014/main" id="{1BD235E4-78D9-4444-803E-D5EE60413498}"/>
              </a:ext>
            </a:extLst>
          </p:cNvPr>
          <p:cNvSpPr/>
          <p:nvPr/>
        </p:nvSpPr>
        <p:spPr>
          <a:xfrm>
            <a:off x="4765542" y="4746373"/>
            <a:ext cx="210951" cy="194881"/>
          </a:xfrm>
          <a:prstGeom prst="rect">
            <a:avLst/>
          </a:prstGeom>
          <a:solidFill>
            <a:schemeClr val="accent5">
              <a:lumMod val="25000"/>
              <a:lumOff val="75000"/>
            </a:schemeClr>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grpSp>
        <p:nvGrpSpPr>
          <p:cNvPr id="119" name="Group 118">
            <a:extLst>
              <a:ext uri="{FF2B5EF4-FFF2-40B4-BE49-F238E27FC236}">
                <a16:creationId xmlns:a16="http://schemas.microsoft.com/office/drawing/2014/main" id="{4D3F3259-13EB-489A-BFB4-3BC2646EF243}"/>
              </a:ext>
            </a:extLst>
          </p:cNvPr>
          <p:cNvGrpSpPr/>
          <p:nvPr/>
        </p:nvGrpSpPr>
        <p:grpSpPr>
          <a:xfrm>
            <a:off x="4472048" y="1692195"/>
            <a:ext cx="4507761" cy="4192519"/>
            <a:chOff x="275156" y="89301"/>
            <a:chExt cx="6968653" cy="6548837"/>
          </a:xfrm>
        </p:grpSpPr>
        <p:sp>
          <p:nvSpPr>
            <p:cNvPr id="120" name="Freeform 1">
              <a:extLst>
                <a:ext uri="{FF2B5EF4-FFF2-40B4-BE49-F238E27FC236}">
                  <a16:creationId xmlns:a16="http://schemas.microsoft.com/office/drawing/2014/main" id="{9753F781-CEA1-49F5-B402-600C677ED02A}"/>
                </a:ext>
              </a:extLst>
            </p:cNvPr>
            <p:cNvSpPr>
              <a:spLocks/>
            </p:cNvSpPr>
            <p:nvPr/>
          </p:nvSpPr>
          <p:spPr bwMode="auto">
            <a:xfrm>
              <a:off x="4465404" y="1382920"/>
              <a:ext cx="1477894" cy="1772159"/>
            </a:xfrm>
            <a:custGeom>
              <a:avLst/>
              <a:gdLst>
                <a:gd name="T0" fmla="*/ 2147483646 w 21600"/>
                <a:gd name="T1" fmla="*/ 2147483646 h 21600"/>
                <a:gd name="T2" fmla="*/ 2147483646 w 21600"/>
                <a:gd name="T3" fmla="*/ 2147483646 h 21600"/>
                <a:gd name="T4" fmla="*/ 1617174170 w 21600"/>
                <a:gd name="T5" fmla="*/ 2147483646 h 21600"/>
                <a:gd name="T6" fmla="*/ 713630612 w 21600"/>
                <a:gd name="T7" fmla="*/ 2147483646 h 21600"/>
                <a:gd name="T8" fmla="*/ 345556357 w 21600"/>
                <a:gd name="T9" fmla="*/ 2147483646 h 21600"/>
                <a:gd name="T10" fmla="*/ 0 w 21600"/>
                <a:gd name="T11" fmla="*/ 2147483646 h 21600"/>
                <a:gd name="T12" fmla="*/ 831100018 w 21600"/>
                <a:gd name="T13" fmla="*/ 2147483646 h 21600"/>
                <a:gd name="T14" fmla="*/ 1366569421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936742078 h 21600"/>
                <a:gd name="T72" fmla="*/ 2147483646 w 21600"/>
                <a:gd name="T73" fmla="*/ 297055580 h 21600"/>
                <a:gd name="T74" fmla="*/ 2147483646 w 21600"/>
                <a:gd name="T75" fmla="*/ 1260802700 h 21600"/>
                <a:gd name="T76" fmla="*/ 2147483646 w 21600"/>
                <a:gd name="T77" fmla="*/ 1819459904 h 21600"/>
                <a:gd name="T78" fmla="*/ 2147483646 w 21600"/>
                <a:gd name="T79" fmla="*/ 1900475030 h 21600"/>
                <a:gd name="T80" fmla="*/ 2147483646 w 21600"/>
                <a:gd name="T81" fmla="*/ 1927480072 h 21600"/>
                <a:gd name="T82" fmla="*/ 2147483646 w 21600"/>
                <a:gd name="T83" fmla="*/ 2033813362 h 216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1600" h="21600">
                  <a:moveTo>
                    <a:pt x="3973" y="1205"/>
                  </a:moveTo>
                  <a:lnTo>
                    <a:pt x="4058" y="3344"/>
                  </a:lnTo>
                  <a:lnTo>
                    <a:pt x="2705" y="3220"/>
                  </a:lnTo>
                  <a:lnTo>
                    <a:pt x="2793" y="5312"/>
                  </a:lnTo>
                  <a:lnTo>
                    <a:pt x="2849" y="8095"/>
                  </a:lnTo>
                  <a:lnTo>
                    <a:pt x="1652" y="8109"/>
                  </a:lnTo>
                  <a:lnTo>
                    <a:pt x="1328" y="8794"/>
                  </a:lnTo>
                  <a:lnTo>
                    <a:pt x="729" y="9321"/>
                  </a:lnTo>
                  <a:lnTo>
                    <a:pt x="883" y="9891"/>
                  </a:lnTo>
                  <a:lnTo>
                    <a:pt x="353" y="10248"/>
                  </a:lnTo>
                  <a:lnTo>
                    <a:pt x="444" y="10800"/>
                  </a:lnTo>
                  <a:lnTo>
                    <a:pt x="0" y="11540"/>
                  </a:lnTo>
                  <a:lnTo>
                    <a:pt x="832" y="11489"/>
                  </a:lnTo>
                  <a:lnTo>
                    <a:pt x="849" y="12248"/>
                  </a:lnTo>
                  <a:lnTo>
                    <a:pt x="1331" y="12956"/>
                  </a:lnTo>
                  <a:lnTo>
                    <a:pt x="1396" y="13456"/>
                  </a:lnTo>
                  <a:lnTo>
                    <a:pt x="1967" y="14118"/>
                  </a:lnTo>
                  <a:lnTo>
                    <a:pt x="2319" y="14747"/>
                  </a:lnTo>
                  <a:lnTo>
                    <a:pt x="2231" y="15847"/>
                  </a:lnTo>
                  <a:lnTo>
                    <a:pt x="3072" y="15910"/>
                  </a:lnTo>
                  <a:lnTo>
                    <a:pt x="3513" y="16387"/>
                  </a:lnTo>
                  <a:lnTo>
                    <a:pt x="4543" y="16776"/>
                  </a:lnTo>
                  <a:lnTo>
                    <a:pt x="4716" y="17384"/>
                  </a:lnTo>
                  <a:lnTo>
                    <a:pt x="5548" y="17705"/>
                  </a:lnTo>
                  <a:lnTo>
                    <a:pt x="6160" y="18491"/>
                  </a:lnTo>
                  <a:lnTo>
                    <a:pt x="6640" y="18987"/>
                  </a:lnTo>
                  <a:lnTo>
                    <a:pt x="7244" y="19462"/>
                  </a:lnTo>
                  <a:lnTo>
                    <a:pt x="7699" y="20021"/>
                  </a:lnTo>
                  <a:lnTo>
                    <a:pt x="8441" y="20752"/>
                  </a:lnTo>
                  <a:lnTo>
                    <a:pt x="9478" y="20586"/>
                  </a:lnTo>
                  <a:lnTo>
                    <a:pt x="10278" y="20784"/>
                  </a:lnTo>
                  <a:lnTo>
                    <a:pt x="10860" y="20528"/>
                  </a:lnTo>
                  <a:lnTo>
                    <a:pt x="11289" y="21061"/>
                  </a:lnTo>
                  <a:lnTo>
                    <a:pt x="12306" y="21600"/>
                  </a:lnTo>
                  <a:lnTo>
                    <a:pt x="12911" y="21312"/>
                  </a:lnTo>
                  <a:lnTo>
                    <a:pt x="13774" y="21435"/>
                  </a:lnTo>
                  <a:lnTo>
                    <a:pt x="14869" y="21397"/>
                  </a:lnTo>
                  <a:lnTo>
                    <a:pt x="16058" y="21309"/>
                  </a:lnTo>
                  <a:lnTo>
                    <a:pt x="16910" y="20437"/>
                  </a:lnTo>
                  <a:lnTo>
                    <a:pt x="18810" y="20357"/>
                  </a:lnTo>
                  <a:lnTo>
                    <a:pt x="18823" y="19572"/>
                  </a:lnTo>
                  <a:lnTo>
                    <a:pt x="18074" y="19476"/>
                  </a:lnTo>
                  <a:lnTo>
                    <a:pt x="17511" y="18660"/>
                  </a:lnTo>
                  <a:lnTo>
                    <a:pt x="17300" y="18137"/>
                  </a:lnTo>
                  <a:lnTo>
                    <a:pt x="16647" y="17621"/>
                  </a:lnTo>
                  <a:lnTo>
                    <a:pt x="16040" y="17114"/>
                  </a:lnTo>
                  <a:lnTo>
                    <a:pt x="14926" y="16874"/>
                  </a:lnTo>
                  <a:lnTo>
                    <a:pt x="15240" y="16127"/>
                  </a:lnTo>
                  <a:lnTo>
                    <a:pt x="16360" y="16069"/>
                  </a:lnTo>
                  <a:lnTo>
                    <a:pt x="16360" y="14708"/>
                  </a:lnTo>
                  <a:lnTo>
                    <a:pt x="16846" y="13563"/>
                  </a:lnTo>
                  <a:lnTo>
                    <a:pt x="17601" y="13269"/>
                  </a:lnTo>
                  <a:lnTo>
                    <a:pt x="17646" y="12277"/>
                  </a:lnTo>
                  <a:lnTo>
                    <a:pt x="18298" y="11380"/>
                  </a:lnTo>
                  <a:lnTo>
                    <a:pt x="18964" y="11140"/>
                  </a:lnTo>
                  <a:lnTo>
                    <a:pt x="19105" y="10489"/>
                  </a:lnTo>
                  <a:lnTo>
                    <a:pt x="19322" y="9456"/>
                  </a:lnTo>
                  <a:lnTo>
                    <a:pt x="19245" y="8634"/>
                  </a:lnTo>
                  <a:lnTo>
                    <a:pt x="19463" y="7897"/>
                  </a:lnTo>
                  <a:lnTo>
                    <a:pt x="19565" y="7141"/>
                  </a:lnTo>
                  <a:lnTo>
                    <a:pt x="19604" y="6528"/>
                  </a:lnTo>
                  <a:lnTo>
                    <a:pt x="20320" y="6474"/>
                  </a:lnTo>
                  <a:lnTo>
                    <a:pt x="20365" y="5925"/>
                  </a:lnTo>
                  <a:lnTo>
                    <a:pt x="21178" y="5967"/>
                  </a:lnTo>
                  <a:lnTo>
                    <a:pt x="21600" y="5380"/>
                  </a:lnTo>
                  <a:lnTo>
                    <a:pt x="20941" y="4938"/>
                  </a:lnTo>
                  <a:lnTo>
                    <a:pt x="20250" y="4389"/>
                  </a:lnTo>
                  <a:lnTo>
                    <a:pt x="19789" y="3536"/>
                  </a:lnTo>
                  <a:lnTo>
                    <a:pt x="19591" y="2847"/>
                  </a:lnTo>
                  <a:lnTo>
                    <a:pt x="19348" y="1825"/>
                  </a:lnTo>
                  <a:lnTo>
                    <a:pt x="19053" y="987"/>
                  </a:lnTo>
                  <a:lnTo>
                    <a:pt x="18369" y="555"/>
                  </a:lnTo>
                  <a:lnTo>
                    <a:pt x="17249" y="0"/>
                  </a:lnTo>
                  <a:lnTo>
                    <a:pt x="16545" y="176"/>
                  </a:lnTo>
                  <a:lnTo>
                    <a:pt x="16270" y="736"/>
                  </a:lnTo>
                  <a:lnTo>
                    <a:pt x="15508" y="747"/>
                  </a:lnTo>
                  <a:lnTo>
                    <a:pt x="15093" y="1297"/>
                  </a:lnTo>
                  <a:lnTo>
                    <a:pt x="14498" y="1078"/>
                  </a:lnTo>
                  <a:lnTo>
                    <a:pt x="12821" y="1099"/>
                  </a:lnTo>
                  <a:lnTo>
                    <a:pt x="10674" y="1126"/>
                  </a:lnTo>
                  <a:lnTo>
                    <a:pt x="7315" y="1110"/>
                  </a:lnTo>
                  <a:lnTo>
                    <a:pt x="5539" y="1142"/>
                  </a:lnTo>
                  <a:lnTo>
                    <a:pt x="3973" y="1205"/>
                  </a:lnTo>
                  <a:close/>
                  <a:moveTo>
                    <a:pt x="3973" y="120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1" name="Freeform 2">
              <a:extLst>
                <a:ext uri="{FF2B5EF4-FFF2-40B4-BE49-F238E27FC236}">
                  <a16:creationId xmlns:a16="http://schemas.microsoft.com/office/drawing/2014/main" id="{6A10E4B7-3ABB-4851-BFD8-5A29F65335C8}"/>
                </a:ext>
              </a:extLst>
            </p:cNvPr>
            <p:cNvSpPr>
              <a:spLocks/>
            </p:cNvSpPr>
            <p:nvPr/>
          </p:nvSpPr>
          <p:spPr bwMode="auto">
            <a:xfrm>
              <a:off x="2530250" y="1328223"/>
              <a:ext cx="1410070" cy="1058920"/>
            </a:xfrm>
            <a:custGeom>
              <a:avLst/>
              <a:gdLst>
                <a:gd name="T0" fmla="*/ 188318561 w 21600"/>
                <a:gd name="T1" fmla="*/ 63495235 h 21600"/>
                <a:gd name="T2" fmla="*/ 188982752 w 21600"/>
                <a:gd name="T3" fmla="*/ 55675424 h 21600"/>
                <a:gd name="T4" fmla="*/ 190122515 w 21600"/>
                <a:gd name="T5" fmla="*/ 48427464 h 21600"/>
                <a:gd name="T6" fmla="*/ 190068705 w 21600"/>
                <a:gd name="T7" fmla="*/ 41786928 h 21600"/>
                <a:gd name="T8" fmla="*/ 191809754 w 21600"/>
                <a:gd name="T9" fmla="*/ 36457283 h 21600"/>
                <a:gd name="T10" fmla="*/ 193856041 w 21600"/>
                <a:gd name="T11" fmla="*/ 30672105 h 21600"/>
                <a:gd name="T12" fmla="*/ 191450801 w 21600"/>
                <a:gd name="T13" fmla="*/ 25701806 h 21600"/>
                <a:gd name="T14" fmla="*/ 186936465 w 21600"/>
                <a:gd name="T15" fmla="*/ 21004839 h 21600"/>
                <a:gd name="T16" fmla="*/ 185428654 w 21600"/>
                <a:gd name="T17" fmla="*/ 14769181 h 21600"/>
                <a:gd name="T18" fmla="*/ 184288891 w 21600"/>
                <a:gd name="T19" fmla="*/ 6185004 h 21600"/>
                <a:gd name="T20" fmla="*/ 174847361 w 21600"/>
                <a:gd name="T21" fmla="*/ 8897920 h 21600"/>
                <a:gd name="T22" fmla="*/ 167622642 w 21600"/>
                <a:gd name="T23" fmla="*/ 5147447 h 21600"/>
                <a:gd name="T24" fmla="*/ 158297826 w 21600"/>
                <a:gd name="T25" fmla="*/ 2439582 h 21600"/>
                <a:gd name="T26" fmla="*/ 146792103 w 21600"/>
                <a:gd name="T27" fmla="*/ 0 h 21600"/>
                <a:gd name="T28" fmla="*/ 139289146 w 21600"/>
                <a:gd name="T29" fmla="*/ 4013704 h 21600"/>
                <a:gd name="T30" fmla="*/ 125638422 w 21600"/>
                <a:gd name="T31" fmla="*/ 9991182 h 21600"/>
                <a:gd name="T32" fmla="*/ 109035076 w 21600"/>
                <a:gd name="T33" fmla="*/ 16996187 h 21600"/>
                <a:gd name="T34" fmla="*/ 94818971 w 21600"/>
                <a:gd name="T35" fmla="*/ 23535485 h 21600"/>
                <a:gd name="T36" fmla="*/ 83753011 w 21600"/>
                <a:gd name="T37" fmla="*/ 29902759 h 21600"/>
                <a:gd name="T38" fmla="*/ 71780622 w 21600"/>
                <a:gd name="T39" fmla="*/ 37722641 h 21600"/>
                <a:gd name="T40" fmla="*/ 60463328 w 21600"/>
                <a:gd name="T41" fmla="*/ 39028481 h 21600"/>
                <a:gd name="T42" fmla="*/ 50339702 w 21600"/>
                <a:gd name="T43" fmla="*/ 38603327 h 21600"/>
                <a:gd name="T44" fmla="*/ 50339702 w 21600"/>
                <a:gd name="T45" fmla="*/ 51297323 h 21600"/>
                <a:gd name="T46" fmla="*/ 50106369 w 21600"/>
                <a:gd name="T47" fmla="*/ 61414998 h 21600"/>
                <a:gd name="T48" fmla="*/ 46992128 w 21600"/>
                <a:gd name="T49" fmla="*/ 69523367 h 21600"/>
                <a:gd name="T50" fmla="*/ 40494409 w 21600"/>
                <a:gd name="T51" fmla="*/ 75445211 h 21600"/>
                <a:gd name="T52" fmla="*/ 13713533 w 21600"/>
                <a:gd name="T53" fmla="*/ 76077891 h 21600"/>
                <a:gd name="T54" fmla="*/ 8660720 w 21600"/>
                <a:gd name="T55" fmla="*/ 79059089 h 21600"/>
                <a:gd name="T56" fmla="*/ 0 w 21600"/>
                <a:gd name="T57" fmla="*/ 78603557 h 21600"/>
                <a:gd name="T58" fmla="*/ 358953 w 21600"/>
                <a:gd name="T59" fmla="*/ 87460996 h 21600"/>
                <a:gd name="T60" fmla="*/ 8849149 w 21600"/>
                <a:gd name="T61" fmla="*/ 93281603 h 21600"/>
                <a:gd name="T62" fmla="*/ 10051816 w 21600"/>
                <a:gd name="T63" fmla="*/ 99567844 h 21600"/>
                <a:gd name="T64" fmla="*/ 18712537 w 21600"/>
                <a:gd name="T65" fmla="*/ 101374818 h 21600"/>
                <a:gd name="T66" fmla="*/ 21853682 w 21600"/>
                <a:gd name="T67" fmla="*/ 105995875 h 21600"/>
                <a:gd name="T68" fmla="*/ 29661783 w 21600"/>
                <a:gd name="T69" fmla="*/ 104851958 h 21600"/>
                <a:gd name="T70" fmla="*/ 39587885 w 21600"/>
                <a:gd name="T71" fmla="*/ 109326245 h 21600"/>
                <a:gd name="T72" fmla="*/ 41203410 w 21600"/>
                <a:gd name="T73" fmla="*/ 104143368 h 21600"/>
                <a:gd name="T74" fmla="*/ 45735651 w 21600"/>
                <a:gd name="T75" fmla="*/ 100190421 h 21600"/>
                <a:gd name="T76" fmla="*/ 47108842 w 21600"/>
                <a:gd name="T77" fmla="*/ 94329333 h 21600"/>
                <a:gd name="T78" fmla="*/ 52107751 w 21600"/>
                <a:gd name="T79" fmla="*/ 91661950 h 21600"/>
                <a:gd name="T80" fmla="*/ 63299425 w 21600"/>
                <a:gd name="T81" fmla="*/ 90533258 h 21600"/>
                <a:gd name="T82" fmla="*/ 73342242 w 21600"/>
                <a:gd name="T83" fmla="*/ 92385764 h 21600"/>
                <a:gd name="T84" fmla="*/ 80082294 w 21600"/>
                <a:gd name="T85" fmla="*/ 97624274 h 21600"/>
                <a:gd name="T86" fmla="*/ 91570017 w 21600"/>
                <a:gd name="T87" fmla="*/ 96090705 h 21600"/>
                <a:gd name="T88" fmla="*/ 100060213 w 21600"/>
                <a:gd name="T89" fmla="*/ 98074755 h 21600"/>
                <a:gd name="T90" fmla="*/ 113414794 w 21600"/>
                <a:gd name="T91" fmla="*/ 99972793 h 21600"/>
                <a:gd name="T92" fmla="*/ 125746136 w 21600"/>
                <a:gd name="T93" fmla="*/ 95680705 h 21600"/>
                <a:gd name="T94" fmla="*/ 138140383 w 21600"/>
                <a:gd name="T95" fmla="*/ 95549089 h 21600"/>
                <a:gd name="T96" fmla="*/ 148910200 w 21600"/>
                <a:gd name="T97" fmla="*/ 98530287 h 21600"/>
                <a:gd name="T98" fmla="*/ 157543920 w 21600"/>
                <a:gd name="T99" fmla="*/ 93514456 h 21600"/>
                <a:gd name="T100" fmla="*/ 162632638 w 21600"/>
                <a:gd name="T101" fmla="*/ 89698104 h 21600"/>
                <a:gd name="T102" fmla="*/ 164975068 w 21600"/>
                <a:gd name="T103" fmla="*/ 83396709 h 21600"/>
                <a:gd name="T104" fmla="*/ 170386929 w 21600"/>
                <a:gd name="T105" fmla="*/ 77884794 h 21600"/>
                <a:gd name="T106" fmla="*/ 177494934 w 21600"/>
                <a:gd name="T107" fmla="*/ 71062059 h 21600"/>
                <a:gd name="T108" fmla="*/ 188318561 w 21600"/>
                <a:gd name="T109" fmla="*/ 63495235 h 21600"/>
                <a:gd name="T110" fmla="*/ 188318561 w 21600"/>
                <a:gd name="T111" fmla="*/ 63495235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20983" y="12545"/>
                  </a:moveTo>
                  <a:lnTo>
                    <a:pt x="21057" y="11000"/>
                  </a:lnTo>
                  <a:lnTo>
                    <a:pt x="21184" y="9568"/>
                  </a:lnTo>
                  <a:lnTo>
                    <a:pt x="21178" y="8256"/>
                  </a:lnTo>
                  <a:lnTo>
                    <a:pt x="21372" y="7203"/>
                  </a:lnTo>
                  <a:lnTo>
                    <a:pt x="21600" y="6060"/>
                  </a:lnTo>
                  <a:lnTo>
                    <a:pt x="21332" y="5078"/>
                  </a:lnTo>
                  <a:lnTo>
                    <a:pt x="20829" y="4150"/>
                  </a:lnTo>
                  <a:lnTo>
                    <a:pt x="20661" y="2918"/>
                  </a:lnTo>
                  <a:lnTo>
                    <a:pt x="20534" y="1222"/>
                  </a:lnTo>
                  <a:lnTo>
                    <a:pt x="19482" y="1758"/>
                  </a:lnTo>
                  <a:lnTo>
                    <a:pt x="18677" y="1017"/>
                  </a:lnTo>
                  <a:lnTo>
                    <a:pt x="17638" y="482"/>
                  </a:lnTo>
                  <a:lnTo>
                    <a:pt x="16356" y="0"/>
                  </a:lnTo>
                  <a:lnTo>
                    <a:pt x="15520" y="793"/>
                  </a:lnTo>
                  <a:lnTo>
                    <a:pt x="13999" y="1974"/>
                  </a:lnTo>
                  <a:lnTo>
                    <a:pt x="12149" y="3358"/>
                  </a:lnTo>
                  <a:lnTo>
                    <a:pt x="10565" y="4650"/>
                  </a:lnTo>
                  <a:lnTo>
                    <a:pt x="9332" y="5908"/>
                  </a:lnTo>
                  <a:lnTo>
                    <a:pt x="7998" y="7453"/>
                  </a:lnTo>
                  <a:lnTo>
                    <a:pt x="6737" y="7711"/>
                  </a:lnTo>
                  <a:lnTo>
                    <a:pt x="5609" y="7627"/>
                  </a:lnTo>
                  <a:lnTo>
                    <a:pt x="5609" y="10135"/>
                  </a:lnTo>
                  <a:lnTo>
                    <a:pt x="5583" y="12134"/>
                  </a:lnTo>
                  <a:lnTo>
                    <a:pt x="5236" y="13736"/>
                  </a:lnTo>
                  <a:lnTo>
                    <a:pt x="4512" y="14906"/>
                  </a:lnTo>
                  <a:lnTo>
                    <a:pt x="1528" y="15031"/>
                  </a:lnTo>
                  <a:lnTo>
                    <a:pt x="965" y="15620"/>
                  </a:lnTo>
                  <a:lnTo>
                    <a:pt x="0" y="15530"/>
                  </a:lnTo>
                  <a:lnTo>
                    <a:pt x="40" y="17280"/>
                  </a:lnTo>
                  <a:lnTo>
                    <a:pt x="986" y="18430"/>
                  </a:lnTo>
                  <a:lnTo>
                    <a:pt x="1120" y="19672"/>
                  </a:lnTo>
                  <a:lnTo>
                    <a:pt x="2085" y="20029"/>
                  </a:lnTo>
                  <a:lnTo>
                    <a:pt x="2435" y="20942"/>
                  </a:lnTo>
                  <a:lnTo>
                    <a:pt x="3305" y="20716"/>
                  </a:lnTo>
                  <a:lnTo>
                    <a:pt x="4411" y="21600"/>
                  </a:lnTo>
                  <a:lnTo>
                    <a:pt x="4591" y="20576"/>
                  </a:lnTo>
                  <a:lnTo>
                    <a:pt x="5096" y="19795"/>
                  </a:lnTo>
                  <a:lnTo>
                    <a:pt x="5249" y="18637"/>
                  </a:lnTo>
                  <a:lnTo>
                    <a:pt x="5806" y="18110"/>
                  </a:lnTo>
                  <a:lnTo>
                    <a:pt x="7053" y="17887"/>
                  </a:lnTo>
                  <a:lnTo>
                    <a:pt x="8172" y="18253"/>
                  </a:lnTo>
                  <a:lnTo>
                    <a:pt x="8923" y="19288"/>
                  </a:lnTo>
                  <a:lnTo>
                    <a:pt x="10203" y="18985"/>
                  </a:lnTo>
                  <a:lnTo>
                    <a:pt x="11149" y="19377"/>
                  </a:lnTo>
                  <a:lnTo>
                    <a:pt x="12637" y="19752"/>
                  </a:lnTo>
                  <a:lnTo>
                    <a:pt x="14011" y="18904"/>
                  </a:lnTo>
                  <a:lnTo>
                    <a:pt x="15392" y="18878"/>
                  </a:lnTo>
                  <a:lnTo>
                    <a:pt x="16592" y="19467"/>
                  </a:lnTo>
                  <a:lnTo>
                    <a:pt x="17554" y="18476"/>
                  </a:lnTo>
                  <a:lnTo>
                    <a:pt x="18121" y="17722"/>
                  </a:lnTo>
                  <a:lnTo>
                    <a:pt x="18382" y="16477"/>
                  </a:lnTo>
                  <a:lnTo>
                    <a:pt x="18985" y="15388"/>
                  </a:lnTo>
                  <a:lnTo>
                    <a:pt x="19777" y="14040"/>
                  </a:lnTo>
                  <a:lnTo>
                    <a:pt x="20983" y="12545"/>
                  </a:lnTo>
                  <a:close/>
                  <a:moveTo>
                    <a:pt x="20983" y="1254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2" name="Freeform 3">
              <a:extLst>
                <a:ext uri="{FF2B5EF4-FFF2-40B4-BE49-F238E27FC236}">
                  <a16:creationId xmlns:a16="http://schemas.microsoft.com/office/drawing/2014/main" id="{5EAF46A5-1276-4F6B-B2D5-5CD92C3A15A1}"/>
                </a:ext>
              </a:extLst>
            </p:cNvPr>
            <p:cNvSpPr>
              <a:spLocks/>
            </p:cNvSpPr>
            <p:nvPr/>
          </p:nvSpPr>
          <p:spPr bwMode="auto">
            <a:xfrm>
              <a:off x="3566198" y="4014905"/>
              <a:ext cx="1101583" cy="1104865"/>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0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2147483646 w 21600"/>
                <a:gd name="T119" fmla="*/ 2147483646 h 21600"/>
                <a:gd name="T120" fmla="*/ 2147483646 w 21600"/>
                <a:gd name="T121" fmla="*/ 2147483646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1600" h="21600">
                  <a:moveTo>
                    <a:pt x="21" y="20688"/>
                  </a:moveTo>
                  <a:lnTo>
                    <a:pt x="0" y="19176"/>
                  </a:lnTo>
                  <a:lnTo>
                    <a:pt x="63" y="17927"/>
                  </a:lnTo>
                  <a:lnTo>
                    <a:pt x="610" y="16341"/>
                  </a:lnTo>
                  <a:lnTo>
                    <a:pt x="1042" y="14063"/>
                  </a:lnTo>
                  <a:lnTo>
                    <a:pt x="1910" y="12489"/>
                  </a:lnTo>
                  <a:lnTo>
                    <a:pt x="2847" y="12069"/>
                  </a:lnTo>
                  <a:lnTo>
                    <a:pt x="3173" y="10903"/>
                  </a:lnTo>
                  <a:lnTo>
                    <a:pt x="3184" y="9349"/>
                  </a:lnTo>
                  <a:lnTo>
                    <a:pt x="2626" y="8079"/>
                  </a:lnTo>
                  <a:lnTo>
                    <a:pt x="2047" y="6897"/>
                  </a:lnTo>
                  <a:lnTo>
                    <a:pt x="1647" y="5742"/>
                  </a:lnTo>
                  <a:lnTo>
                    <a:pt x="2573" y="5490"/>
                  </a:lnTo>
                  <a:lnTo>
                    <a:pt x="2216" y="4418"/>
                  </a:lnTo>
                  <a:lnTo>
                    <a:pt x="1637" y="3326"/>
                  </a:lnTo>
                  <a:lnTo>
                    <a:pt x="1310" y="2098"/>
                  </a:lnTo>
                  <a:lnTo>
                    <a:pt x="659" y="959"/>
                  </a:lnTo>
                  <a:lnTo>
                    <a:pt x="2110" y="368"/>
                  </a:lnTo>
                  <a:lnTo>
                    <a:pt x="3510" y="168"/>
                  </a:lnTo>
                  <a:lnTo>
                    <a:pt x="4994" y="137"/>
                  </a:lnTo>
                  <a:lnTo>
                    <a:pt x="6342" y="0"/>
                  </a:lnTo>
                  <a:lnTo>
                    <a:pt x="8047" y="126"/>
                  </a:lnTo>
                  <a:lnTo>
                    <a:pt x="8605" y="1449"/>
                  </a:lnTo>
                  <a:lnTo>
                    <a:pt x="8942" y="2678"/>
                  </a:lnTo>
                  <a:lnTo>
                    <a:pt x="9899" y="3875"/>
                  </a:lnTo>
                  <a:lnTo>
                    <a:pt x="11110" y="3948"/>
                  </a:lnTo>
                  <a:lnTo>
                    <a:pt x="12384" y="3906"/>
                  </a:lnTo>
                  <a:lnTo>
                    <a:pt x="13257" y="3812"/>
                  </a:lnTo>
                  <a:lnTo>
                    <a:pt x="13569" y="2176"/>
                  </a:lnTo>
                  <a:lnTo>
                    <a:pt x="14800" y="2226"/>
                  </a:lnTo>
                  <a:lnTo>
                    <a:pt x="15653" y="2394"/>
                  </a:lnTo>
                  <a:lnTo>
                    <a:pt x="16569" y="2657"/>
                  </a:lnTo>
                  <a:lnTo>
                    <a:pt x="17621" y="2751"/>
                  </a:lnTo>
                  <a:lnTo>
                    <a:pt x="17632" y="4715"/>
                  </a:lnTo>
                  <a:lnTo>
                    <a:pt x="17621" y="6799"/>
                  </a:lnTo>
                  <a:lnTo>
                    <a:pt x="18484" y="7817"/>
                  </a:lnTo>
                  <a:lnTo>
                    <a:pt x="18579" y="9476"/>
                  </a:lnTo>
                  <a:lnTo>
                    <a:pt x="19811" y="9466"/>
                  </a:lnTo>
                  <a:lnTo>
                    <a:pt x="21600" y="9361"/>
                  </a:lnTo>
                  <a:lnTo>
                    <a:pt x="21547" y="11125"/>
                  </a:lnTo>
                  <a:lnTo>
                    <a:pt x="21447" y="12661"/>
                  </a:lnTo>
                  <a:lnTo>
                    <a:pt x="19793" y="12867"/>
                  </a:lnTo>
                  <a:lnTo>
                    <a:pt x="17958" y="12839"/>
                  </a:lnTo>
                  <a:lnTo>
                    <a:pt x="17948" y="15390"/>
                  </a:lnTo>
                  <a:lnTo>
                    <a:pt x="18053" y="17389"/>
                  </a:lnTo>
                  <a:lnTo>
                    <a:pt x="18060" y="18906"/>
                  </a:lnTo>
                  <a:lnTo>
                    <a:pt x="19021" y="19825"/>
                  </a:lnTo>
                  <a:lnTo>
                    <a:pt x="20147" y="21148"/>
                  </a:lnTo>
                  <a:lnTo>
                    <a:pt x="18453" y="21390"/>
                  </a:lnTo>
                  <a:lnTo>
                    <a:pt x="16632" y="21600"/>
                  </a:lnTo>
                  <a:lnTo>
                    <a:pt x="15190" y="21526"/>
                  </a:lnTo>
                  <a:lnTo>
                    <a:pt x="12832" y="21484"/>
                  </a:lnTo>
                  <a:lnTo>
                    <a:pt x="11579" y="20749"/>
                  </a:lnTo>
                  <a:lnTo>
                    <a:pt x="9274" y="20760"/>
                  </a:lnTo>
                  <a:lnTo>
                    <a:pt x="7168" y="20781"/>
                  </a:lnTo>
                  <a:lnTo>
                    <a:pt x="4926" y="20823"/>
                  </a:lnTo>
                  <a:lnTo>
                    <a:pt x="3579" y="20749"/>
                  </a:lnTo>
                  <a:lnTo>
                    <a:pt x="2758" y="19993"/>
                  </a:lnTo>
                  <a:lnTo>
                    <a:pt x="1852" y="20224"/>
                  </a:lnTo>
                  <a:lnTo>
                    <a:pt x="21" y="20688"/>
                  </a:lnTo>
                  <a:close/>
                  <a:moveTo>
                    <a:pt x="21" y="20688"/>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23" name="Freeform 4">
              <a:extLst>
                <a:ext uri="{FF2B5EF4-FFF2-40B4-BE49-F238E27FC236}">
                  <a16:creationId xmlns:a16="http://schemas.microsoft.com/office/drawing/2014/main" id="{D6169EEF-E830-43CF-8D64-8F0DE5DDDE8E}"/>
                </a:ext>
              </a:extLst>
            </p:cNvPr>
            <p:cNvSpPr>
              <a:spLocks/>
            </p:cNvSpPr>
            <p:nvPr/>
          </p:nvSpPr>
          <p:spPr bwMode="auto">
            <a:xfrm>
              <a:off x="3788265" y="2485597"/>
              <a:ext cx="1178157" cy="80294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0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0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2826" y="21600"/>
                  </a:moveTo>
                  <a:lnTo>
                    <a:pt x="2797" y="19562"/>
                  </a:lnTo>
                  <a:lnTo>
                    <a:pt x="2054" y="18759"/>
                  </a:lnTo>
                  <a:lnTo>
                    <a:pt x="1301" y="17525"/>
                  </a:lnTo>
                  <a:lnTo>
                    <a:pt x="1203" y="16291"/>
                  </a:lnTo>
                  <a:lnTo>
                    <a:pt x="421" y="15013"/>
                  </a:lnTo>
                  <a:lnTo>
                    <a:pt x="421" y="13248"/>
                  </a:lnTo>
                  <a:lnTo>
                    <a:pt x="0" y="12107"/>
                  </a:lnTo>
                  <a:lnTo>
                    <a:pt x="724" y="10988"/>
                  </a:lnTo>
                  <a:lnTo>
                    <a:pt x="1164" y="9811"/>
                  </a:lnTo>
                  <a:lnTo>
                    <a:pt x="1886" y="8192"/>
                  </a:lnTo>
                  <a:lnTo>
                    <a:pt x="2866" y="8376"/>
                  </a:lnTo>
                  <a:lnTo>
                    <a:pt x="3648" y="7443"/>
                  </a:lnTo>
                  <a:lnTo>
                    <a:pt x="4205" y="8477"/>
                  </a:lnTo>
                  <a:lnTo>
                    <a:pt x="4841" y="7429"/>
                  </a:lnTo>
                  <a:lnTo>
                    <a:pt x="5800" y="7171"/>
                  </a:lnTo>
                  <a:lnTo>
                    <a:pt x="7022" y="6984"/>
                  </a:lnTo>
                  <a:lnTo>
                    <a:pt x="7892" y="6195"/>
                  </a:lnTo>
                  <a:lnTo>
                    <a:pt x="7677" y="4703"/>
                  </a:lnTo>
                  <a:lnTo>
                    <a:pt x="9506" y="4601"/>
                  </a:lnTo>
                  <a:lnTo>
                    <a:pt x="10719" y="3553"/>
                  </a:lnTo>
                  <a:lnTo>
                    <a:pt x="11844" y="1808"/>
                  </a:lnTo>
                  <a:lnTo>
                    <a:pt x="12372" y="588"/>
                  </a:lnTo>
                  <a:lnTo>
                    <a:pt x="13207" y="57"/>
                  </a:lnTo>
                  <a:lnTo>
                    <a:pt x="14263" y="0"/>
                  </a:lnTo>
                  <a:lnTo>
                    <a:pt x="14948" y="1492"/>
                  </a:lnTo>
                  <a:lnTo>
                    <a:pt x="15476" y="3157"/>
                  </a:lnTo>
                  <a:lnTo>
                    <a:pt x="15300" y="5396"/>
                  </a:lnTo>
                  <a:lnTo>
                    <a:pt x="16238" y="5306"/>
                  </a:lnTo>
                  <a:lnTo>
                    <a:pt x="16884" y="6558"/>
                  </a:lnTo>
                  <a:lnTo>
                    <a:pt x="17960" y="7261"/>
                  </a:lnTo>
                  <a:lnTo>
                    <a:pt x="18716" y="8908"/>
                  </a:lnTo>
                  <a:lnTo>
                    <a:pt x="19311" y="9399"/>
                  </a:lnTo>
                  <a:lnTo>
                    <a:pt x="20133" y="10972"/>
                  </a:lnTo>
                  <a:lnTo>
                    <a:pt x="20700" y="12249"/>
                  </a:lnTo>
                  <a:lnTo>
                    <a:pt x="21600" y="13368"/>
                  </a:lnTo>
                  <a:lnTo>
                    <a:pt x="20816" y="14571"/>
                  </a:lnTo>
                  <a:lnTo>
                    <a:pt x="19684" y="14118"/>
                  </a:lnTo>
                  <a:lnTo>
                    <a:pt x="18493" y="13841"/>
                  </a:lnTo>
                  <a:lnTo>
                    <a:pt x="17884" y="14747"/>
                  </a:lnTo>
                  <a:lnTo>
                    <a:pt x="16864" y="14533"/>
                  </a:lnTo>
                  <a:lnTo>
                    <a:pt x="15886" y="15087"/>
                  </a:lnTo>
                  <a:lnTo>
                    <a:pt x="14961" y="15313"/>
                  </a:lnTo>
                  <a:lnTo>
                    <a:pt x="14137" y="15175"/>
                  </a:lnTo>
                  <a:lnTo>
                    <a:pt x="13623" y="16684"/>
                  </a:lnTo>
                  <a:lnTo>
                    <a:pt x="11543" y="16525"/>
                  </a:lnTo>
                  <a:lnTo>
                    <a:pt x="10260" y="15886"/>
                  </a:lnTo>
                  <a:lnTo>
                    <a:pt x="9448" y="14546"/>
                  </a:lnTo>
                  <a:lnTo>
                    <a:pt x="8239" y="14533"/>
                  </a:lnTo>
                  <a:lnTo>
                    <a:pt x="7329" y="16143"/>
                  </a:lnTo>
                  <a:lnTo>
                    <a:pt x="6995" y="18093"/>
                  </a:lnTo>
                  <a:lnTo>
                    <a:pt x="5152" y="18294"/>
                  </a:lnTo>
                  <a:lnTo>
                    <a:pt x="3806" y="18294"/>
                  </a:lnTo>
                  <a:lnTo>
                    <a:pt x="3592" y="19828"/>
                  </a:lnTo>
                  <a:lnTo>
                    <a:pt x="2826" y="21600"/>
                  </a:lnTo>
                  <a:close/>
                  <a:moveTo>
                    <a:pt x="2826"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24" name="Freeform 5">
              <a:extLst>
                <a:ext uri="{FF2B5EF4-FFF2-40B4-BE49-F238E27FC236}">
                  <a16:creationId xmlns:a16="http://schemas.microsoft.com/office/drawing/2014/main" id="{90997197-C8FA-431B-B055-4C754454ED93}"/>
                </a:ext>
              </a:extLst>
            </p:cNvPr>
            <p:cNvSpPr>
              <a:spLocks/>
            </p:cNvSpPr>
            <p:nvPr/>
          </p:nvSpPr>
          <p:spPr bwMode="auto">
            <a:xfrm>
              <a:off x="3712783" y="1352290"/>
              <a:ext cx="949527" cy="1446169"/>
            </a:xfrm>
            <a:custGeom>
              <a:avLst/>
              <a:gdLst>
                <a:gd name="T0" fmla="*/ 48290704 w 21600"/>
                <a:gd name="T1" fmla="*/ 2147483646 h 21600"/>
                <a:gd name="T2" fmla="*/ 772891772 w 21600"/>
                <a:gd name="T3" fmla="*/ 2147483646 h 21600"/>
                <a:gd name="T4" fmla="*/ 1122081846 w 21600"/>
                <a:gd name="T5" fmla="*/ 2147483646 h 21600"/>
                <a:gd name="T6" fmla="*/ 1163620978 w 21600"/>
                <a:gd name="T7" fmla="*/ 2147483646 h 21600"/>
                <a:gd name="T8" fmla="*/ 1342499366 w 21600"/>
                <a:gd name="T9" fmla="*/ 2147483646 h 21600"/>
                <a:gd name="T10" fmla="*/ 1083135110 w 21600"/>
                <a:gd name="T11" fmla="*/ 2147483646 h 21600"/>
                <a:gd name="T12" fmla="*/ 945795854 w 21600"/>
                <a:gd name="T13" fmla="*/ 487965839 h 21600"/>
                <a:gd name="T14" fmla="*/ 1570706194 w 21600"/>
                <a:gd name="T15" fmla="*/ 0 h 21600"/>
                <a:gd name="T16" fmla="*/ 2147483646 w 21600"/>
                <a:gd name="T17" fmla="*/ 1112588553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022704352 w 21600"/>
                <a:gd name="T47" fmla="*/ 2147483646 h 21600"/>
                <a:gd name="T48" fmla="*/ 1610426241 w 21600"/>
                <a:gd name="T49" fmla="*/ 2147483646 h 21600"/>
                <a:gd name="T50" fmla="*/ 1040818648 w 21600"/>
                <a:gd name="T51" fmla="*/ 2147483646 h 21600"/>
                <a:gd name="T52" fmla="*/ 780681145 w 21600"/>
                <a:gd name="T53" fmla="*/ 2147483646 h 21600"/>
                <a:gd name="T54" fmla="*/ 326082490 w 21600"/>
                <a:gd name="T55" fmla="*/ 2147483646 h 21600"/>
                <a:gd name="T56" fmla="*/ 712400150 w 21600"/>
                <a:gd name="T57" fmla="*/ 2147483646 h 21600"/>
                <a:gd name="T58" fmla="*/ 839614025 w 21600"/>
                <a:gd name="T59" fmla="*/ 2147483646 h 21600"/>
                <a:gd name="T60" fmla="*/ 779122467 w 21600"/>
                <a:gd name="T61" fmla="*/ 2147483646 h 21600"/>
                <a:gd name="T62" fmla="*/ 489386215 w 21600"/>
                <a:gd name="T63" fmla="*/ 2147483646 h 21600"/>
                <a:gd name="T64" fmla="*/ 0 w 21600"/>
                <a:gd name="T65" fmla="*/ 2147483646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600" h="21600">
                  <a:moveTo>
                    <a:pt x="0" y="12823"/>
                  </a:moveTo>
                  <a:lnTo>
                    <a:pt x="186" y="11833"/>
                  </a:lnTo>
                  <a:lnTo>
                    <a:pt x="1551" y="10523"/>
                  </a:lnTo>
                  <a:lnTo>
                    <a:pt x="2977" y="9560"/>
                  </a:lnTo>
                  <a:lnTo>
                    <a:pt x="4162" y="8905"/>
                  </a:lnTo>
                  <a:lnTo>
                    <a:pt x="4322" y="7987"/>
                  </a:lnTo>
                  <a:lnTo>
                    <a:pt x="4482" y="6748"/>
                  </a:lnTo>
                  <a:lnTo>
                    <a:pt x="4482" y="5725"/>
                  </a:lnTo>
                  <a:lnTo>
                    <a:pt x="4842" y="4996"/>
                  </a:lnTo>
                  <a:lnTo>
                    <a:pt x="5171" y="4182"/>
                  </a:lnTo>
                  <a:lnTo>
                    <a:pt x="4892" y="3388"/>
                  </a:lnTo>
                  <a:lnTo>
                    <a:pt x="4172" y="2844"/>
                  </a:lnTo>
                  <a:lnTo>
                    <a:pt x="3720" y="1868"/>
                  </a:lnTo>
                  <a:lnTo>
                    <a:pt x="3643" y="532"/>
                  </a:lnTo>
                  <a:lnTo>
                    <a:pt x="4742" y="7"/>
                  </a:lnTo>
                  <a:lnTo>
                    <a:pt x="6050" y="0"/>
                  </a:lnTo>
                  <a:lnTo>
                    <a:pt x="7945" y="663"/>
                  </a:lnTo>
                  <a:lnTo>
                    <a:pt x="9974" y="1213"/>
                  </a:lnTo>
                  <a:lnTo>
                    <a:pt x="12847" y="2151"/>
                  </a:lnTo>
                  <a:lnTo>
                    <a:pt x="15193" y="2986"/>
                  </a:lnTo>
                  <a:lnTo>
                    <a:pt x="18007" y="3859"/>
                  </a:lnTo>
                  <a:lnTo>
                    <a:pt x="19982" y="4657"/>
                  </a:lnTo>
                  <a:lnTo>
                    <a:pt x="21390" y="5228"/>
                  </a:lnTo>
                  <a:lnTo>
                    <a:pt x="21600" y="6191"/>
                  </a:lnTo>
                  <a:lnTo>
                    <a:pt x="21590" y="9046"/>
                  </a:lnTo>
                  <a:lnTo>
                    <a:pt x="21570" y="10345"/>
                  </a:lnTo>
                  <a:lnTo>
                    <a:pt x="19682" y="10398"/>
                  </a:lnTo>
                  <a:lnTo>
                    <a:pt x="19373" y="11111"/>
                  </a:lnTo>
                  <a:lnTo>
                    <a:pt x="18344" y="11872"/>
                  </a:lnTo>
                  <a:lnTo>
                    <a:pt x="18454" y="12562"/>
                  </a:lnTo>
                  <a:lnTo>
                    <a:pt x="17715" y="13172"/>
                  </a:lnTo>
                  <a:lnTo>
                    <a:pt x="17874" y="13835"/>
                  </a:lnTo>
                  <a:lnTo>
                    <a:pt x="17155" y="14524"/>
                  </a:lnTo>
                  <a:lnTo>
                    <a:pt x="18374" y="14572"/>
                  </a:lnTo>
                  <a:lnTo>
                    <a:pt x="18673" y="15570"/>
                  </a:lnTo>
                  <a:lnTo>
                    <a:pt x="19313" y="16095"/>
                  </a:lnTo>
                  <a:lnTo>
                    <a:pt x="19313" y="17026"/>
                  </a:lnTo>
                  <a:lnTo>
                    <a:pt x="17984" y="17085"/>
                  </a:lnTo>
                  <a:lnTo>
                    <a:pt x="16926" y="17460"/>
                  </a:lnTo>
                  <a:lnTo>
                    <a:pt x="15837" y="18431"/>
                  </a:lnTo>
                  <a:lnTo>
                    <a:pt x="14738" y="19060"/>
                  </a:lnTo>
                  <a:lnTo>
                    <a:pt x="13709" y="19487"/>
                  </a:lnTo>
                  <a:lnTo>
                    <a:pt x="12439" y="19561"/>
                  </a:lnTo>
                  <a:lnTo>
                    <a:pt x="11272" y="19539"/>
                  </a:lnTo>
                  <a:lnTo>
                    <a:pt x="11522" y="20379"/>
                  </a:lnTo>
                  <a:lnTo>
                    <a:pt x="10358" y="20812"/>
                  </a:lnTo>
                  <a:lnTo>
                    <a:pt x="8979" y="20963"/>
                  </a:lnTo>
                  <a:lnTo>
                    <a:pt x="7791" y="21068"/>
                  </a:lnTo>
                  <a:lnTo>
                    <a:pt x="6932" y="21600"/>
                  </a:lnTo>
                  <a:lnTo>
                    <a:pt x="6203" y="21075"/>
                  </a:lnTo>
                  <a:lnTo>
                    <a:pt x="5464" y="21551"/>
                  </a:lnTo>
                  <a:lnTo>
                    <a:pt x="4009" y="21534"/>
                  </a:lnTo>
                  <a:lnTo>
                    <a:pt x="3536" y="20495"/>
                  </a:lnTo>
                  <a:lnTo>
                    <a:pt x="3007" y="19861"/>
                  </a:lnTo>
                  <a:lnTo>
                    <a:pt x="1948" y="19441"/>
                  </a:lnTo>
                  <a:lnTo>
                    <a:pt x="1256" y="18850"/>
                  </a:lnTo>
                  <a:lnTo>
                    <a:pt x="1336" y="18181"/>
                  </a:lnTo>
                  <a:lnTo>
                    <a:pt x="2744" y="18181"/>
                  </a:lnTo>
                  <a:lnTo>
                    <a:pt x="4291" y="18029"/>
                  </a:lnTo>
                  <a:lnTo>
                    <a:pt x="3234" y="17332"/>
                  </a:lnTo>
                  <a:lnTo>
                    <a:pt x="3353" y="16407"/>
                  </a:lnTo>
                  <a:lnTo>
                    <a:pt x="3001" y="15387"/>
                  </a:lnTo>
                  <a:lnTo>
                    <a:pt x="2701" y="14736"/>
                  </a:lnTo>
                  <a:lnTo>
                    <a:pt x="1885" y="14413"/>
                  </a:lnTo>
                  <a:lnTo>
                    <a:pt x="652" y="13695"/>
                  </a:lnTo>
                  <a:lnTo>
                    <a:pt x="0" y="12823"/>
                  </a:lnTo>
                  <a:close/>
                  <a:moveTo>
                    <a:pt x="0" y="12823"/>
                  </a:moveTo>
                </a:path>
              </a:pathLst>
            </a:custGeom>
            <a:solidFill>
              <a:srgbClr val="97BAFF"/>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5" name="Freeform 6">
              <a:extLst>
                <a:ext uri="{FF2B5EF4-FFF2-40B4-BE49-F238E27FC236}">
                  <a16:creationId xmlns:a16="http://schemas.microsoft.com/office/drawing/2014/main" id="{CB4B67D3-383B-4168-BE62-6712C0236E1E}"/>
                </a:ext>
              </a:extLst>
            </p:cNvPr>
            <p:cNvSpPr>
              <a:spLocks/>
            </p:cNvSpPr>
            <p:nvPr/>
          </p:nvSpPr>
          <p:spPr bwMode="auto">
            <a:xfrm>
              <a:off x="5489318" y="2127884"/>
              <a:ext cx="1353186" cy="1030478"/>
            </a:xfrm>
            <a:custGeom>
              <a:avLst/>
              <a:gdLst>
                <a:gd name="T0" fmla="*/ 110333710 w 21600"/>
                <a:gd name="T1" fmla="*/ 97233987 h 21600"/>
                <a:gd name="T2" fmla="*/ 119094982 w 21600"/>
                <a:gd name="T3" fmla="*/ 96836177 h 21600"/>
                <a:gd name="T4" fmla="*/ 123285472 w 21600"/>
                <a:gd name="T5" fmla="*/ 92714065 h 21600"/>
                <a:gd name="T6" fmla="*/ 127806615 w 21600"/>
                <a:gd name="T7" fmla="*/ 90168866 h 21600"/>
                <a:gd name="T8" fmla="*/ 144287650 w 21600"/>
                <a:gd name="T9" fmla="*/ 89948429 h 21600"/>
                <a:gd name="T10" fmla="*/ 153048921 w 21600"/>
                <a:gd name="T11" fmla="*/ 82662802 h 21600"/>
                <a:gd name="T12" fmla="*/ 161057972 w 21600"/>
                <a:gd name="T13" fmla="*/ 75822963 h 21600"/>
                <a:gd name="T14" fmla="*/ 168257072 w 21600"/>
                <a:gd name="T15" fmla="*/ 69112520 h 21600"/>
                <a:gd name="T16" fmla="*/ 178530877 w 21600"/>
                <a:gd name="T17" fmla="*/ 60724501 h 21600"/>
                <a:gd name="T18" fmla="*/ 168488539 w 21600"/>
                <a:gd name="T19" fmla="*/ 60240427 h 21600"/>
                <a:gd name="T20" fmla="*/ 155197851 w 21600"/>
                <a:gd name="T21" fmla="*/ 57369280 h 21600"/>
                <a:gd name="T22" fmla="*/ 138427528 w 21600"/>
                <a:gd name="T23" fmla="*/ 53261569 h 21600"/>
                <a:gd name="T24" fmla="*/ 131633449 w 21600"/>
                <a:gd name="T25" fmla="*/ 51363487 h 21600"/>
                <a:gd name="T26" fmla="*/ 126988391 w 21600"/>
                <a:gd name="T27" fmla="*/ 47653587 h 21600"/>
                <a:gd name="T28" fmla="*/ 120028940 w 21600"/>
                <a:gd name="T29" fmla="*/ 43416411 h 21600"/>
                <a:gd name="T30" fmla="*/ 115441702 w 21600"/>
                <a:gd name="T31" fmla="*/ 38560988 h 21600"/>
                <a:gd name="T32" fmla="*/ 116954235 w 21600"/>
                <a:gd name="T33" fmla="*/ 32986514 h 21600"/>
                <a:gd name="T34" fmla="*/ 104010747 w 21600"/>
                <a:gd name="T35" fmla="*/ 33647963 h 21600"/>
                <a:gd name="T36" fmla="*/ 103655365 w 21600"/>
                <a:gd name="T37" fmla="*/ 28131021 h 21600"/>
                <a:gd name="T38" fmla="*/ 107779760 w 21600"/>
                <a:gd name="T39" fmla="*/ 21904722 h 21600"/>
                <a:gd name="T40" fmla="*/ 108589711 w 21600"/>
                <a:gd name="T41" fmla="*/ 17399131 h 21600"/>
                <a:gd name="T42" fmla="*/ 101456797 w 21600"/>
                <a:gd name="T43" fmla="*/ 14000847 h 21600"/>
                <a:gd name="T44" fmla="*/ 96811647 w 21600"/>
                <a:gd name="T45" fmla="*/ 10425120 h 21600"/>
                <a:gd name="T46" fmla="*/ 91588013 w 21600"/>
                <a:gd name="T47" fmla="*/ 6715220 h 21600"/>
                <a:gd name="T48" fmla="*/ 80942280 w 21600"/>
                <a:gd name="T49" fmla="*/ 2473267 h 21600"/>
                <a:gd name="T50" fmla="*/ 73801002 w 21600"/>
                <a:gd name="T51" fmla="*/ 2339094 h 21600"/>
                <a:gd name="T52" fmla="*/ 67073017 w 21600"/>
                <a:gd name="T53" fmla="*/ 1236633 h 21600"/>
                <a:gd name="T54" fmla="*/ 59584720 w 21600"/>
                <a:gd name="T55" fmla="*/ 0 h 21600"/>
                <a:gd name="T56" fmla="*/ 54476729 w 21600"/>
                <a:gd name="T57" fmla="*/ 5032797 h 21600"/>
                <a:gd name="T58" fmla="*/ 48905895 w 21600"/>
                <a:gd name="T59" fmla="*/ 2075456 h 21600"/>
                <a:gd name="T60" fmla="*/ 39524773 w 21600"/>
                <a:gd name="T61" fmla="*/ 3312089 h 21600"/>
                <a:gd name="T62" fmla="*/ 38070061 w 21600"/>
                <a:gd name="T63" fmla="*/ 10952396 h 21600"/>
                <a:gd name="T64" fmla="*/ 34796983 w 21600"/>
                <a:gd name="T65" fmla="*/ 16119366 h 21600"/>
                <a:gd name="T66" fmla="*/ 29507164 w 21600"/>
                <a:gd name="T67" fmla="*/ 19402724 h 21600"/>
                <a:gd name="T68" fmla="*/ 24961292 w 21600"/>
                <a:gd name="T69" fmla="*/ 25811174 h 21600"/>
                <a:gd name="T70" fmla="*/ 23390847 w 21600"/>
                <a:gd name="T71" fmla="*/ 33585653 h 21600"/>
                <a:gd name="T72" fmla="*/ 17414992 w 21600"/>
                <a:gd name="T73" fmla="*/ 37070270 h 21600"/>
                <a:gd name="T74" fmla="*/ 11976438 w 21600"/>
                <a:gd name="T75" fmla="*/ 46608659 h 21600"/>
                <a:gd name="T76" fmla="*/ 11976438 w 21600"/>
                <a:gd name="T77" fmla="*/ 56664699 h 21600"/>
                <a:gd name="T78" fmla="*/ 2611862 w 21600"/>
                <a:gd name="T79" fmla="*/ 58117062 h 21600"/>
                <a:gd name="T80" fmla="*/ 0 w 21600"/>
                <a:gd name="T81" fmla="*/ 64194787 h 21600"/>
                <a:gd name="T82" fmla="*/ 8876914 w 21600"/>
                <a:gd name="T83" fmla="*/ 66447548 h 21600"/>
                <a:gd name="T84" fmla="*/ 15960372 w 21600"/>
                <a:gd name="T85" fmla="*/ 71259909 h 21600"/>
                <a:gd name="T86" fmla="*/ 21646848 w 21600"/>
                <a:gd name="T87" fmla="*/ 76690517 h 21600"/>
                <a:gd name="T88" fmla="*/ 25829155 w 21600"/>
                <a:gd name="T89" fmla="*/ 82327300 h 21600"/>
                <a:gd name="T90" fmla="*/ 28788126 w 21600"/>
                <a:gd name="T91" fmla="*/ 86214505 h 21600"/>
                <a:gd name="T92" fmla="*/ 34069672 w 21600"/>
                <a:gd name="T93" fmla="*/ 86430234 h 21600"/>
                <a:gd name="T94" fmla="*/ 35301191 w 21600"/>
                <a:gd name="T95" fmla="*/ 92795552 h 21600"/>
                <a:gd name="T96" fmla="*/ 41467146 w 21600"/>
                <a:gd name="T97" fmla="*/ 94343732 h 21600"/>
                <a:gd name="T98" fmla="*/ 47922298 w 21600"/>
                <a:gd name="T99" fmla="*/ 95537234 h 21600"/>
                <a:gd name="T100" fmla="*/ 53964248 w 21600"/>
                <a:gd name="T101" fmla="*/ 97794841 h 21600"/>
                <a:gd name="T102" fmla="*/ 60179751 w 21600"/>
                <a:gd name="T103" fmla="*/ 101672492 h 21600"/>
                <a:gd name="T104" fmla="*/ 68784015 w 21600"/>
                <a:gd name="T105" fmla="*/ 102602355 h 21600"/>
                <a:gd name="T106" fmla="*/ 79198281 w 21600"/>
                <a:gd name="T107" fmla="*/ 103532219 h 21600"/>
                <a:gd name="T108" fmla="*/ 86711488 w 21600"/>
                <a:gd name="T109" fmla="*/ 98614417 h 21600"/>
                <a:gd name="T110" fmla="*/ 95233020 w 21600"/>
                <a:gd name="T111" fmla="*/ 97483225 h 21600"/>
                <a:gd name="T112" fmla="*/ 101332790 w 21600"/>
                <a:gd name="T113" fmla="*/ 98413158 h 21600"/>
                <a:gd name="T114" fmla="*/ 110333710 w 21600"/>
                <a:gd name="T115" fmla="*/ 97233987 h 21600"/>
                <a:gd name="T116" fmla="*/ 110333710 w 21600"/>
                <a:gd name="T117" fmla="*/ 97233987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0" h="21600">
                  <a:moveTo>
                    <a:pt x="13349" y="20286"/>
                  </a:moveTo>
                  <a:lnTo>
                    <a:pt x="14409" y="20203"/>
                  </a:lnTo>
                  <a:lnTo>
                    <a:pt x="14916" y="19343"/>
                  </a:lnTo>
                  <a:lnTo>
                    <a:pt x="15463" y="18812"/>
                  </a:lnTo>
                  <a:lnTo>
                    <a:pt x="17457" y="18766"/>
                  </a:lnTo>
                  <a:lnTo>
                    <a:pt x="18517" y="17246"/>
                  </a:lnTo>
                  <a:lnTo>
                    <a:pt x="19486" y="15819"/>
                  </a:lnTo>
                  <a:lnTo>
                    <a:pt x="20357" y="14419"/>
                  </a:lnTo>
                  <a:lnTo>
                    <a:pt x="21600" y="12669"/>
                  </a:lnTo>
                  <a:lnTo>
                    <a:pt x="20385" y="12568"/>
                  </a:lnTo>
                  <a:lnTo>
                    <a:pt x="18777" y="11969"/>
                  </a:lnTo>
                  <a:lnTo>
                    <a:pt x="16748" y="11112"/>
                  </a:lnTo>
                  <a:lnTo>
                    <a:pt x="15926" y="10716"/>
                  </a:lnTo>
                  <a:lnTo>
                    <a:pt x="15364" y="9942"/>
                  </a:lnTo>
                  <a:lnTo>
                    <a:pt x="14522" y="9058"/>
                  </a:lnTo>
                  <a:lnTo>
                    <a:pt x="13967" y="8045"/>
                  </a:lnTo>
                  <a:lnTo>
                    <a:pt x="14150" y="6882"/>
                  </a:lnTo>
                  <a:lnTo>
                    <a:pt x="12584" y="7020"/>
                  </a:lnTo>
                  <a:lnTo>
                    <a:pt x="12541" y="5869"/>
                  </a:lnTo>
                  <a:lnTo>
                    <a:pt x="13040" y="4570"/>
                  </a:lnTo>
                  <a:lnTo>
                    <a:pt x="13138" y="3630"/>
                  </a:lnTo>
                  <a:lnTo>
                    <a:pt x="12275" y="2921"/>
                  </a:lnTo>
                  <a:lnTo>
                    <a:pt x="11713" y="2175"/>
                  </a:lnTo>
                  <a:lnTo>
                    <a:pt x="11081" y="1401"/>
                  </a:lnTo>
                  <a:lnTo>
                    <a:pt x="9793" y="516"/>
                  </a:lnTo>
                  <a:lnTo>
                    <a:pt x="8929" y="488"/>
                  </a:lnTo>
                  <a:lnTo>
                    <a:pt x="8115" y="258"/>
                  </a:lnTo>
                  <a:lnTo>
                    <a:pt x="7209" y="0"/>
                  </a:lnTo>
                  <a:lnTo>
                    <a:pt x="6591" y="1050"/>
                  </a:lnTo>
                  <a:lnTo>
                    <a:pt x="5917" y="433"/>
                  </a:lnTo>
                  <a:lnTo>
                    <a:pt x="4782" y="691"/>
                  </a:lnTo>
                  <a:lnTo>
                    <a:pt x="4606" y="2285"/>
                  </a:lnTo>
                  <a:lnTo>
                    <a:pt x="4210" y="3363"/>
                  </a:lnTo>
                  <a:lnTo>
                    <a:pt x="3570" y="4048"/>
                  </a:lnTo>
                  <a:lnTo>
                    <a:pt x="3020" y="5385"/>
                  </a:lnTo>
                  <a:lnTo>
                    <a:pt x="2830" y="7007"/>
                  </a:lnTo>
                  <a:lnTo>
                    <a:pt x="2107" y="7734"/>
                  </a:lnTo>
                  <a:lnTo>
                    <a:pt x="1449" y="9724"/>
                  </a:lnTo>
                  <a:lnTo>
                    <a:pt x="1449" y="11822"/>
                  </a:lnTo>
                  <a:lnTo>
                    <a:pt x="316" y="12125"/>
                  </a:lnTo>
                  <a:lnTo>
                    <a:pt x="0" y="13393"/>
                  </a:lnTo>
                  <a:lnTo>
                    <a:pt x="1074" y="13863"/>
                  </a:lnTo>
                  <a:lnTo>
                    <a:pt x="1931" y="14867"/>
                  </a:lnTo>
                  <a:lnTo>
                    <a:pt x="2619" y="16000"/>
                  </a:lnTo>
                  <a:lnTo>
                    <a:pt x="3125" y="17176"/>
                  </a:lnTo>
                  <a:lnTo>
                    <a:pt x="3483" y="17987"/>
                  </a:lnTo>
                  <a:lnTo>
                    <a:pt x="4122" y="18032"/>
                  </a:lnTo>
                  <a:lnTo>
                    <a:pt x="4271" y="19360"/>
                  </a:lnTo>
                  <a:lnTo>
                    <a:pt x="5017" y="19683"/>
                  </a:lnTo>
                  <a:lnTo>
                    <a:pt x="5798" y="19932"/>
                  </a:lnTo>
                  <a:lnTo>
                    <a:pt x="6529" y="20403"/>
                  </a:lnTo>
                  <a:lnTo>
                    <a:pt x="7281" y="21212"/>
                  </a:lnTo>
                  <a:lnTo>
                    <a:pt x="8322" y="21406"/>
                  </a:lnTo>
                  <a:lnTo>
                    <a:pt x="9582" y="21600"/>
                  </a:lnTo>
                  <a:lnTo>
                    <a:pt x="10491" y="20574"/>
                  </a:lnTo>
                  <a:lnTo>
                    <a:pt x="11522" y="20338"/>
                  </a:lnTo>
                  <a:lnTo>
                    <a:pt x="12260" y="20532"/>
                  </a:lnTo>
                  <a:lnTo>
                    <a:pt x="13349" y="20286"/>
                  </a:lnTo>
                  <a:close/>
                  <a:moveTo>
                    <a:pt x="13349" y="2028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6" name="Freeform 7">
              <a:extLst>
                <a:ext uri="{FF2B5EF4-FFF2-40B4-BE49-F238E27FC236}">
                  <a16:creationId xmlns:a16="http://schemas.microsoft.com/office/drawing/2014/main" id="{0A96DBFB-DF88-4723-8E6C-913ED6EE27C0}"/>
                </a:ext>
              </a:extLst>
            </p:cNvPr>
            <p:cNvSpPr>
              <a:spLocks/>
            </p:cNvSpPr>
            <p:nvPr/>
          </p:nvSpPr>
          <p:spPr bwMode="auto">
            <a:xfrm>
              <a:off x="3586983" y="2984427"/>
              <a:ext cx="1756844" cy="174043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0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600" h="21600">
                  <a:moveTo>
                    <a:pt x="4254" y="10737"/>
                  </a:moveTo>
                  <a:lnTo>
                    <a:pt x="4367" y="9935"/>
                  </a:lnTo>
                  <a:lnTo>
                    <a:pt x="4475" y="8732"/>
                  </a:lnTo>
                  <a:lnTo>
                    <a:pt x="5000" y="8126"/>
                  </a:lnTo>
                  <a:lnTo>
                    <a:pt x="5298" y="7542"/>
                  </a:lnTo>
                  <a:lnTo>
                    <a:pt x="6152" y="6996"/>
                  </a:lnTo>
                  <a:lnTo>
                    <a:pt x="6141" y="6225"/>
                  </a:lnTo>
                  <a:lnTo>
                    <a:pt x="6406" y="5439"/>
                  </a:lnTo>
                  <a:lnTo>
                    <a:pt x="6471" y="4740"/>
                  </a:lnTo>
                  <a:lnTo>
                    <a:pt x="6477" y="3834"/>
                  </a:lnTo>
                  <a:lnTo>
                    <a:pt x="6942" y="3242"/>
                  </a:lnTo>
                  <a:lnTo>
                    <a:pt x="7136" y="2216"/>
                  </a:lnTo>
                  <a:lnTo>
                    <a:pt x="7315" y="1337"/>
                  </a:lnTo>
                  <a:lnTo>
                    <a:pt x="7980" y="513"/>
                  </a:lnTo>
                  <a:lnTo>
                    <a:pt x="8732" y="491"/>
                  </a:lnTo>
                  <a:lnTo>
                    <a:pt x="9192" y="873"/>
                  </a:lnTo>
                  <a:lnTo>
                    <a:pt x="9992" y="1381"/>
                  </a:lnTo>
                  <a:lnTo>
                    <a:pt x="10711" y="1413"/>
                  </a:lnTo>
                  <a:lnTo>
                    <a:pt x="11539" y="1397"/>
                  </a:lnTo>
                  <a:lnTo>
                    <a:pt x="11950" y="835"/>
                  </a:lnTo>
                  <a:lnTo>
                    <a:pt x="13110" y="769"/>
                  </a:lnTo>
                  <a:lnTo>
                    <a:pt x="13818" y="480"/>
                  </a:lnTo>
                  <a:lnTo>
                    <a:pt x="14473" y="551"/>
                  </a:lnTo>
                  <a:lnTo>
                    <a:pt x="14895" y="164"/>
                  </a:lnTo>
                  <a:lnTo>
                    <a:pt x="16188" y="430"/>
                  </a:lnTo>
                  <a:lnTo>
                    <a:pt x="16981" y="0"/>
                  </a:lnTo>
                  <a:lnTo>
                    <a:pt x="17338" y="551"/>
                  </a:lnTo>
                  <a:lnTo>
                    <a:pt x="17841" y="1222"/>
                  </a:lnTo>
                  <a:lnTo>
                    <a:pt x="18979" y="1017"/>
                  </a:lnTo>
                  <a:lnTo>
                    <a:pt x="19881" y="913"/>
                  </a:lnTo>
                  <a:lnTo>
                    <a:pt x="20324" y="1539"/>
                  </a:lnTo>
                  <a:lnTo>
                    <a:pt x="21157" y="2105"/>
                  </a:lnTo>
                  <a:lnTo>
                    <a:pt x="21125" y="2681"/>
                  </a:lnTo>
                  <a:lnTo>
                    <a:pt x="21030" y="3374"/>
                  </a:lnTo>
                  <a:lnTo>
                    <a:pt x="21600" y="3689"/>
                  </a:lnTo>
                  <a:lnTo>
                    <a:pt x="21254" y="4202"/>
                  </a:lnTo>
                  <a:lnTo>
                    <a:pt x="20832" y="4710"/>
                  </a:lnTo>
                  <a:lnTo>
                    <a:pt x="20161" y="5264"/>
                  </a:lnTo>
                  <a:lnTo>
                    <a:pt x="19939" y="6198"/>
                  </a:lnTo>
                  <a:lnTo>
                    <a:pt x="19791" y="7755"/>
                  </a:lnTo>
                  <a:lnTo>
                    <a:pt x="19085" y="8265"/>
                  </a:lnTo>
                  <a:lnTo>
                    <a:pt x="18874" y="9029"/>
                  </a:lnTo>
                  <a:lnTo>
                    <a:pt x="19118" y="9803"/>
                  </a:lnTo>
                  <a:lnTo>
                    <a:pt x="19339" y="11337"/>
                  </a:lnTo>
                  <a:lnTo>
                    <a:pt x="19496" y="12679"/>
                  </a:lnTo>
                  <a:lnTo>
                    <a:pt x="19626" y="13546"/>
                  </a:lnTo>
                  <a:lnTo>
                    <a:pt x="20156" y="14200"/>
                  </a:lnTo>
                  <a:lnTo>
                    <a:pt x="20567" y="15046"/>
                  </a:lnTo>
                  <a:lnTo>
                    <a:pt x="20940" y="15679"/>
                  </a:lnTo>
                  <a:lnTo>
                    <a:pt x="20032" y="15766"/>
                  </a:lnTo>
                  <a:lnTo>
                    <a:pt x="18912" y="15935"/>
                  </a:lnTo>
                  <a:lnTo>
                    <a:pt x="18285" y="16840"/>
                  </a:lnTo>
                  <a:lnTo>
                    <a:pt x="18582" y="17511"/>
                  </a:lnTo>
                  <a:lnTo>
                    <a:pt x="18474" y="18385"/>
                  </a:lnTo>
                  <a:lnTo>
                    <a:pt x="18133" y="19400"/>
                  </a:lnTo>
                  <a:lnTo>
                    <a:pt x="18555" y="19990"/>
                  </a:lnTo>
                  <a:lnTo>
                    <a:pt x="19091" y="20443"/>
                  </a:lnTo>
                  <a:lnTo>
                    <a:pt x="19729" y="20061"/>
                  </a:lnTo>
                  <a:lnTo>
                    <a:pt x="19707" y="21600"/>
                  </a:lnTo>
                  <a:lnTo>
                    <a:pt x="18914" y="21526"/>
                  </a:lnTo>
                  <a:lnTo>
                    <a:pt x="18474" y="20792"/>
                  </a:lnTo>
                  <a:lnTo>
                    <a:pt x="17922" y="20465"/>
                  </a:lnTo>
                  <a:lnTo>
                    <a:pt x="17159" y="20203"/>
                  </a:lnTo>
                  <a:lnTo>
                    <a:pt x="16830" y="19564"/>
                  </a:lnTo>
                  <a:lnTo>
                    <a:pt x="16186" y="19826"/>
                  </a:lnTo>
                  <a:lnTo>
                    <a:pt x="15451" y="19695"/>
                  </a:lnTo>
                  <a:lnTo>
                    <a:pt x="14728" y="19667"/>
                  </a:lnTo>
                  <a:lnTo>
                    <a:pt x="14721" y="18997"/>
                  </a:lnTo>
                  <a:lnTo>
                    <a:pt x="13921" y="19291"/>
                  </a:lnTo>
                  <a:lnTo>
                    <a:pt x="13248" y="18760"/>
                  </a:lnTo>
                  <a:lnTo>
                    <a:pt x="12239" y="18773"/>
                  </a:lnTo>
                  <a:lnTo>
                    <a:pt x="11367" y="18844"/>
                  </a:lnTo>
                  <a:lnTo>
                    <a:pt x="11324" y="17796"/>
                  </a:lnTo>
                  <a:lnTo>
                    <a:pt x="10754" y="17094"/>
                  </a:lnTo>
                  <a:lnTo>
                    <a:pt x="10815" y="15929"/>
                  </a:lnTo>
                  <a:lnTo>
                    <a:pt x="10788" y="15253"/>
                  </a:lnTo>
                  <a:lnTo>
                    <a:pt x="10783" y="14527"/>
                  </a:lnTo>
                  <a:lnTo>
                    <a:pt x="10123" y="14495"/>
                  </a:lnTo>
                  <a:lnTo>
                    <a:pt x="9179" y="14192"/>
                  </a:lnTo>
                  <a:lnTo>
                    <a:pt x="8344" y="14192"/>
                  </a:lnTo>
                  <a:lnTo>
                    <a:pt x="8037" y="15302"/>
                  </a:lnTo>
                  <a:lnTo>
                    <a:pt x="5653" y="15281"/>
                  </a:lnTo>
                  <a:lnTo>
                    <a:pt x="5405" y="14631"/>
                  </a:lnTo>
                  <a:lnTo>
                    <a:pt x="5102" y="13736"/>
                  </a:lnTo>
                  <a:lnTo>
                    <a:pt x="4766" y="12904"/>
                  </a:lnTo>
                  <a:lnTo>
                    <a:pt x="3899" y="12850"/>
                  </a:lnTo>
                  <a:lnTo>
                    <a:pt x="2862" y="12902"/>
                  </a:lnTo>
                  <a:lnTo>
                    <a:pt x="1796" y="12866"/>
                  </a:lnTo>
                  <a:lnTo>
                    <a:pt x="1152" y="12986"/>
                  </a:lnTo>
                  <a:lnTo>
                    <a:pt x="130" y="13543"/>
                  </a:lnTo>
                  <a:lnTo>
                    <a:pt x="0" y="12839"/>
                  </a:lnTo>
                  <a:lnTo>
                    <a:pt x="395" y="12450"/>
                  </a:lnTo>
                  <a:lnTo>
                    <a:pt x="476" y="11894"/>
                  </a:lnTo>
                  <a:lnTo>
                    <a:pt x="1098" y="11588"/>
                  </a:lnTo>
                  <a:lnTo>
                    <a:pt x="1828" y="11364"/>
                  </a:lnTo>
                  <a:lnTo>
                    <a:pt x="2418" y="11141"/>
                  </a:lnTo>
                  <a:lnTo>
                    <a:pt x="2537" y="11768"/>
                  </a:lnTo>
                  <a:lnTo>
                    <a:pt x="3175" y="11435"/>
                  </a:lnTo>
                  <a:lnTo>
                    <a:pt x="3661" y="10917"/>
                  </a:lnTo>
                  <a:lnTo>
                    <a:pt x="4254" y="10737"/>
                  </a:lnTo>
                  <a:close/>
                  <a:moveTo>
                    <a:pt x="4254" y="10737"/>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7" name="Freeform 8">
              <a:extLst>
                <a:ext uri="{FF2B5EF4-FFF2-40B4-BE49-F238E27FC236}">
                  <a16:creationId xmlns:a16="http://schemas.microsoft.com/office/drawing/2014/main" id="{2A7F5B8F-9E0F-4C8B-A0A1-4E43B68D622C}"/>
                </a:ext>
              </a:extLst>
            </p:cNvPr>
            <p:cNvSpPr>
              <a:spLocks/>
            </p:cNvSpPr>
            <p:nvPr/>
          </p:nvSpPr>
          <p:spPr bwMode="auto">
            <a:xfrm>
              <a:off x="5161141" y="3578429"/>
              <a:ext cx="997660" cy="998754"/>
            </a:xfrm>
            <a:custGeom>
              <a:avLst/>
              <a:gdLst>
                <a:gd name="T0" fmla="*/ 14291328 w 21600"/>
                <a:gd name="T1" fmla="*/ 10432500 h 21600"/>
                <a:gd name="T2" fmla="*/ 13725278 w 21600"/>
                <a:gd name="T3" fmla="*/ 5398564 h 21600"/>
                <a:gd name="T4" fmla="*/ 11088070 w 21600"/>
                <a:gd name="T5" fmla="*/ 661887 h 21600"/>
                <a:gd name="T6" fmla="*/ 23833871 w 21600"/>
                <a:gd name="T7" fmla="*/ 0 h 21600"/>
                <a:gd name="T8" fmla="*/ 45160837 w 21600"/>
                <a:gd name="T9" fmla="*/ 1539907 h 21600"/>
                <a:gd name="T10" fmla="*/ 57448436 w 21600"/>
                <a:gd name="T11" fmla="*/ 7748919 h 21600"/>
                <a:gd name="T12" fmla="*/ 63482142 w 21600"/>
                <a:gd name="T13" fmla="*/ 12152439 h 21600"/>
                <a:gd name="T14" fmla="*/ 69250821 w 21600"/>
                <a:gd name="T15" fmla="*/ 15822072 h 21600"/>
                <a:gd name="T16" fmla="*/ 74538777 w 21600"/>
                <a:gd name="T17" fmla="*/ 18582148 h 21600"/>
                <a:gd name="T18" fmla="*/ 75648488 w 21600"/>
                <a:gd name="T19" fmla="*/ 24043787 h 21600"/>
                <a:gd name="T20" fmla="*/ 79507747 w 21600"/>
                <a:gd name="T21" fmla="*/ 26641746 h 21600"/>
                <a:gd name="T22" fmla="*/ 88079862 w 21600"/>
                <a:gd name="T23" fmla="*/ 32576181 h 21600"/>
                <a:gd name="T24" fmla="*/ 84957373 w 21600"/>
                <a:gd name="T25" fmla="*/ 38303407 h 21600"/>
                <a:gd name="T26" fmla="*/ 83690414 w 21600"/>
                <a:gd name="T27" fmla="*/ 44980719 h 21600"/>
                <a:gd name="T28" fmla="*/ 85698700 w 21600"/>
                <a:gd name="T29" fmla="*/ 50230788 h 21600"/>
                <a:gd name="T30" fmla="*/ 90141972 w 21600"/>
                <a:gd name="T31" fmla="*/ 54895398 h 21600"/>
                <a:gd name="T32" fmla="*/ 87868658 w 21600"/>
                <a:gd name="T33" fmla="*/ 63481876 h 21600"/>
                <a:gd name="T34" fmla="*/ 88767232 w 21600"/>
                <a:gd name="T35" fmla="*/ 71172216 h 21600"/>
                <a:gd name="T36" fmla="*/ 90514914 w 21600"/>
                <a:gd name="T37" fmla="*/ 77588437 h 21600"/>
                <a:gd name="T38" fmla="*/ 92734271 w 21600"/>
                <a:gd name="T39" fmla="*/ 82838439 h 21600"/>
                <a:gd name="T40" fmla="*/ 97042817 w 21600"/>
                <a:gd name="T41" fmla="*/ 86976305 h 21600"/>
                <a:gd name="T42" fmla="*/ 89876944 w 21600"/>
                <a:gd name="T43" fmla="*/ 91109675 h 21600"/>
                <a:gd name="T44" fmla="*/ 83214182 w 21600"/>
                <a:gd name="T45" fmla="*/ 92064190 h 21600"/>
                <a:gd name="T46" fmla="*/ 78766420 w 21600"/>
                <a:gd name="T47" fmla="*/ 93653617 h 21600"/>
                <a:gd name="T48" fmla="*/ 74219791 w 21600"/>
                <a:gd name="T49" fmla="*/ 93333947 h 21600"/>
                <a:gd name="T50" fmla="*/ 70989522 w 21600"/>
                <a:gd name="T51" fmla="*/ 96409197 h 21600"/>
                <a:gd name="T52" fmla="*/ 63212624 w 21600"/>
                <a:gd name="T53" fmla="*/ 96620835 h 21600"/>
                <a:gd name="T54" fmla="*/ 58347010 w 21600"/>
                <a:gd name="T55" fmla="*/ 94500100 h 21600"/>
                <a:gd name="T56" fmla="*/ 52474975 w 21600"/>
                <a:gd name="T57" fmla="*/ 95400598 h 21600"/>
                <a:gd name="T58" fmla="*/ 46279530 w 21600"/>
                <a:gd name="T59" fmla="*/ 97255679 h 21600"/>
                <a:gd name="T60" fmla="*/ 44060106 w 21600"/>
                <a:gd name="T61" fmla="*/ 91478866 h 21600"/>
                <a:gd name="T62" fmla="*/ 43534475 w 21600"/>
                <a:gd name="T63" fmla="*/ 83104093 h 21600"/>
                <a:gd name="T64" fmla="*/ 40991575 w 21600"/>
                <a:gd name="T65" fmla="*/ 77480337 h 21600"/>
                <a:gd name="T66" fmla="*/ 35914824 w 21600"/>
                <a:gd name="T67" fmla="*/ 76741955 h 21600"/>
                <a:gd name="T68" fmla="*/ 29036500 w 21600"/>
                <a:gd name="T69" fmla="*/ 74621220 h 21600"/>
                <a:gd name="T70" fmla="*/ 23694588 w 21600"/>
                <a:gd name="T71" fmla="*/ 70857041 h 21600"/>
                <a:gd name="T72" fmla="*/ 17503634 w 21600"/>
                <a:gd name="T73" fmla="*/ 69105564 h 21600"/>
                <a:gd name="T74" fmla="*/ 11946160 w 21600"/>
                <a:gd name="T75" fmla="*/ 65499006 h 21600"/>
                <a:gd name="T76" fmla="*/ 7619651 w 21600"/>
                <a:gd name="T77" fmla="*/ 56484826 h 21600"/>
                <a:gd name="T78" fmla="*/ 1846481 w 21600"/>
                <a:gd name="T79" fmla="*/ 48636865 h 21600"/>
                <a:gd name="T80" fmla="*/ 157247 w 21600"/>
                <a:gd name="T81" fmla="*/ 39014814 h 21600"/>
                <a:gd name="T82" fmla="*/ 0 w 21600"/>
                <a:gd name="T83" fmla="*/ 29789063 h 21600"/>
                <a:gd name="T84" fmla="*/ 5921435 w 21600"/>
                <a:gd name="T85" fmla="*/ 30068204 h 21600"/>
                <a:gd name="T86" fmla="*/ 10095121 w 21600"/>
                <a:gd name="T87" fmla="*/ 26105943 h 21600"/>
                <a:gd name="T88" fmla="*/ 13064853 w 21600"/>
                <a:gd name="T89" fmla="*/ 21369265 h 21600"/>
                <a:gd name="T90" fmla="*/ 10755545 w 21600"/>
                <a:gd name="T91" fmla="*/ 14097570 h 21600"/>
                <a:gd name="T92" fmla="*/ 14291328 w 21600"/>
                <a:gd name="T93" fmla="*/ 10432500 h 21600"/>
                <a:gd name="T94" fmla="*/ 14291328 w 21600"/>
                <a:gd name="T95" fmla="*/ 10432500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1600" h="21600">
                  <a:moveTo>
                    <a:pt x="3181" y="2317"/>
                  </a:moveTo>
                  <a:lnTo>
                    <a:pt x="3055" y="1199"/>
                  </a:lnTo>
                  <a:lnTo>
                    <a:pt x="2468" y="147"/>
                  </a:lnTo>
                  <a:lnTo>
                    <a:pt x="5305" y="0"/>
                  </a:lnTo>
                  <a:lnTo>
                    <a:pt x="10052" y="342"/>
                  </a:lnTo>
                  <a:lnTo>
                    <a:pt x="12787" y="1721"/>
                  </a:lnTo>
                  <a:lnTo>
                    <a:pt x="14130" y="2699"/>
                  </a:lnTo>
                  <a:lnTo>
                    <a:pt x="15414" y="3514"/>
                  </a:lnTo>
                  <a:lnTo>
                    <a:pt x="16591" y="4127"/>
                  </a:lnTo>
                  <a:lnTo>
                    <a:pt x="16838" y="5340"/>
                  </a:lnTo>
                  <a:lnTo>
                    <a:pt x="17697" y="5917"/>
                  </a:lnTo>
                  <a:lnTo>
                    <a:pt x="19605" y="7235"/>
                  </a:lnTo>
                  <a:lnTo>
                    <a:pt x="18910" y="8507"/>
                  </a:lnTo>
                  <a:lnTo>
                    <a:pt x="18628" y="9990"/>
                  </a:lnTo>
                  <a:lnTo>
                    <a:pt x="19075" y="11156"/>
                  </a:lnTo>
                  <a:lnTo>
                    <a:pt x="20064" y="12192"/>
                  </a:lnTo>
                  <a:lnTo>
                    <a:pt x="19558" y="14099"/>
                  </a:lnTo>
                  <a:lnTo>
                    <a:pt x="19758" y="15807"/>
                  </a:lnTo>
                  <a:lnTo>
                    <a:pt x="20147" y="17232"/>
                  </a:lnTo>
                  <a:lnTo>
                    <a:pt x="20641" y="18398"/>
                  </a:lnTo>
                  <a:lnTo>
                    <a:pt x="21600" y="19317"/>
                  </a:lnTo>
                  <a:lnTo>
                    <a:pt x="20005" y="20235"/>
                  </a:lnTo>
                  <a:lnTo>
                    <a:pt x="18522" y="20447"/>
                  </a:lnTo>
                  <a:lnTo>
                    <a:pt x="17532" y="20800"/>
                  </a:lnTo>
                  <a:lnTo>
                    <a:pt x="16520" y="20729"/>
                  </a:lnTo>
                  <a:lnTo>
                    <a:pt x="15801" y="21412"/>
                  </a:lnTo>
                  <a:lnTo>
                    <a:pt x="14070" y="21459"/>
                  </a:lnTo>
                  <a:lnTo>
                    <a:pt x="12987" y="20988"/>
                  </a:lnTo>
                  <a:lnTo>
                    <a:pt x="11680" y="21188"/>
                  </a:lnTo>
                  <a:lnTo>
                    <a:pt x="10301" y="21600"/>
                  </a:lnTo>
                  <a:lnTo>
                    <a:pt x="9807" y="20317"/>
                  </a:lnTo>
                  <a:lnTo>
                    <a:pt x="9690" y="18457"/>
                  </a:lnTo>
                  <a:lnTo>
                    <a:pt x="9124" y="17208"/>
                  </a:lnTo>
                  <a:lnTo>
                    <a:pt x="7994" y="17044"/>
                  </a:lnTo>
                  <a:lnTo>
                    <a:pt x="6463" y="16573"/>
                  </a:lnTo>
                  <a:lnTo>
                    <a:pt x="5274" y="15737"/>
                  </a:lnTo>
                  <a:lnTo>
                    <a:pt x="3896" y="15348"/>
                  </a:lnTo>
                  <a:lnTo>
                    <a:pt x="2659" y="14547"/>
                  </a:lnTo>
                  <a:lnTo>
                    <a:pt x="1696" y="12545"/>
                  </a:lnTo>
                  <a:lnTo>
                    <a:pt x="411" y="10802"/>
                  </a:lnTo>
                  <a:lnTo>
                    <a:pt x="35" y="8665"/>
                  </a:lnTo>
                  <a:lnTo>
                    <a:pt x="0" y="6616"/>
                  </a:lnTo>
                  <a:lnTo>
                    <a:pt x="1318" y="6678"/>
                  </a:lnTo>
                  <a:lnTo>
                    <a:pt x="2247" y="5798"/>
                  </a:lnTo>
                  <a:lnTo>
                    <a:pt x="2908" y="4746"/>
                  </a:lnTo>
                  <a:lnTo>
                    <a:pt x="2394" y="3131"/>
                  </a:lnTo>
                  <a:lnTo>
                    <a:pt x="3181" y="2317"/>
                  </a:lnTo>
                  <a:close/>
                  <a:moveTo>
                    <a:pt x="3181" y="2317"/>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8" name="Freeform 9">
              <a:extLst>
                <a:ext uri="{FF2B5EF4-FFF2-40B4-BE49-F238E27FC236}">
                  <a16:creationId xmlns:a16="http://schemas.microsoft.com/office/drawing/2014/main" id="{B5663F68-7E67-45D4-BF65-0F93FE857E89}"/>
                </a:ext>
              </a:extLst>
            </p:cNvPr>
            <p:cNvSpPr>
              <a:spLocks/>
            </p:cNvSpPr>
            <p:nvPr/>
          </p:nvSpPr>
          <p:spPr bwMode="auto">
            <a:xfrm>
              <a:off x="2712936" y="2200082"/>
              <a:ext cx="1098301" cy="8959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0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669530882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0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600" h="21600">
                  <a:moveTo>
                    <a:pt x="445" y="10844"/>
                  </a:moveTo>
                  <a:lnTo>
                    <a:pt x="1134" y="9661"/>
                  </a:lnTo>
                  <a:lnTo>
                    <a:pt x="1996" y="8616"/>
                  </a:lnTo>
                  <a:lnTo>
                    <a:pt x="2213" y="7082"/>
                  </a:lnTo>
                  <a:lnTo>
                    <a:pt x="1789" y="5606"/>
                  </a:lnTo>
                  <a:lnTo>
                    <a:pt x="1746" y="4345"/>
                  </a:lnTo>
                  <a:lnTo>
                    <a:pt x="2142" y="3199"/>
                  </a:lnTo>
                  <a:lnTo>
                    <a:pt x="2988" y="2269"/>
                  </a:lnTo>
                  <a:lnTo>
                    <a:pt x="2979" y="1149"/>
                  </a:lnTo>
                  <a:lnTo>
                    <a:pt x="3849" y="283"/>
                  </a:lnTo>
                  <a:lnTo>
                    <a:pt x="5528" y="0"/>
                  </a:lnTo>
                  <a:lnTo>
                    <a:pt x="6666" y="484"/>
                  </a:lnTo>
                  <a:lnTo>
                    <a:pt x="7793" y="1451"/>
                  </a:lnTo>
                  <a:lnTo>
                    <a:pt x="9465" y="1403"/>
                  </a:lnTo>
                  <a:lnTo>
                    <a:pt x="11258" y="2011"/>
                  </a:lnTo>
                  <a:lnTo>
                    <a:pt x="12641" y="2226"/>
                  </a:lnTo>
                  <a:lnTo>
                    <a:pt x="14301" y="1348"/>
                  </a:lnTo>
                  <a:lnTo>
                    <a:pt x="16279" y="1099"/>
                  </a:lnTo>
                  <a:lnTo>
                    <a:pt x="17640" y="1952"/>
                  </a:lnTo>
                  <a:lnTo>
                    <a:pt x="18700" y="1022"/>
                  </a:lnTo>
                  <a:lnTo>
                    <a:pt x="19681" y="51"/>
                  </a:lnTo>
                  <a:lnTo>
                    <a:pt x="20185" y="1232"/>
                  </a:lnTo>
                  <a:lnTo>
                    <a:pt x="20666" y="3075"/>
                  </a:lnTo>
                  <a:lnTo>
                    <a:pt x="21521" y="4027"/>
                  </a:lnTo>
                  <a:lnTo>
                    <a:pt x="21600" y="5606"/>
                  </a:lnTo>
                  <a:lnTo>
                    <a:pt x="20401" y="6063"/>
                  </a:lnTo>
                  <a:lnTo>
                    <a:pt x="19609" y="8059"/>
                  </a:lnTo>
                  <a:lnTo>
                    <a:pt x="19133" y="9771"/>
                  </a:lnTo>
                  <a:lnTo>
                    <a:pt x="18357" y="10530"/>
                  </a:lnTo>
                  <a:lnTo>
                    <a:pt x="18082" y="11771"/>
                  </a:lnTo>
                  <a:lnTo>
                    <a:pt x="17325" y="12313"/>
                  </a:lnTo>
                  <a:lnTo>
                    <a:pt x="16876" y="14007"/>
                  </a:lnTo>
                  <a:lnTo>
                    <a:pt x="16362" y="15686"/>
                  </a:lnTo>
                  <a:lnTo>
                    <a:pt x="15186" y="16888"/>
                  </a:lnTo>
                  <a:lnTo>
                    <a:pt x="14357" y="15325"/>
                  </a:lnTo>
                  <a:lnTo>
                    <a:pt x="13266" y="15566"/>
                  </a:lnTo>
                  <a:lnTo>
                    <a:pt x="12391" y="16650"/>
                  </a:lnTo>
                  <a:lnTo>
                    <a:pt x="11315" y="18111"/>
                  </a:lnTo>
                  <a:lnTo>
                    <a:pt x="10926" y="19955"/>
                  </a:lnTo>
                  <a:lnTo>
                    <a:pt x="9408" y="21030"/>
                  </a:lnTo>
                  <a:lnTo>
                    <a:pt x="8099" y="21368"/>
                  </a:lnTo>
                  <a:lnTo>
                    <a:pt x="6867" y="21600"/>
                  </a:lnTo>
                  <a:lnTo>
                    <a:pt x="5480" y="21188"/>
                  </a:lnTo>
                  <a:lnTo>
                    <a:pt x="4817" y="19467"/>
                  </a:lnTo>
                  <a:lnTo>
                    <a:pt x="4154" y="18232"/>
                  </a:lnTo>
                  <a:lnTo>
                    <a:pt x="3525" y="17091"/>
                  </a:lnTo>
                  <a:lnTo>
                    <a:pt x="2147" y="16922"/>
                  </a:lnTo>
                  <a:lnTo>
                    <a:pt x="0" y="16601"/>
                  </a:lnTo>
                  <a:lnTo>
                    <a:pt x="149" y="14219"/>
                  </a:lnTo>
                  <a:lnTo>
                    <a:pt x="136" y="12301"/>
                  </a:lnTo>
                  <a:lnTo>
                    <a:pt x="445" y="10844"/>
                  </a:lnTo>
                  <a:close/>
                  <a:moveTo>
                    <a:pt x="445" y="10844"/>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9" name="Freeform 10">
              <a:extLst>
                <a:ext uri="{FF2B5EF4-FFF2-40B4-BE49-F238E27FC236}">
                  <a16:creationId xmlns:a16="http://schemas.microsoft.com/office/drawing/2014/main" id="{B4717815-538E-4D22-911C-EEF4984E1062}"/>
                </a:ext>
              </a:extLst>
            </p:cNvPr>
            <p:cNvSpPr>
              <a:spLocks/>
            </p:cNvSpPr>
            <p:nvPr/>
          </p:nvSpPr>
          <p:spPr bwMode="auto">
            <a:xfrm>
              <a:off x="3388982" y="468398"/>
              <a:ext cx="1360843" cy="123723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0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0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0" h="21600">
                  <a:moveTo>
                    <a:pt x="21600" y="17815"/>
                  </a:moveTo>
                  <a:lnTo>
                    <a:pt x="21521" y="15865"/>
                  </a:lnTo>
                  <a:lnTo>
                    <a:pt x="21482" y="12831"/>
                  </a:lnTo>
                  <a:lnTo>
                    <a:pt x="21350" y="9262"/>
                  </a:lnTo>
                  <a:lnTo>
                    <a:pt x="21232" y="6136"/>
                  </a:lnTo>
                  <a:lnTo>
                    <a:pt x="20681" y="4968"/>
                  </a:lnTo>
                  <a:lnTo>
                    <a:pt x="20980" y="4013"/>
                  </a:lnTo>
                  <a:lnTo>
                    <a:pt x="20896" y="2912"/>
                  </a:lnTo>
                  <a:lnTo>
                    <a:pt x="21035" y="2140"/>
                  </a:lnTo>
                  <a:lnTo>
                    <a:pt x="20090" y="1949"/>
                  </a:lnTo>
                  <a:lnTo>
                    <a:pt x="19186" y="1636"/>
                  </a:lnTo>
                  <a:lnTo>
                    <a:pt x="18422" y="910"/>
                  </a:lnTo>
                  <a:lnTo>
                    <a:pt x="17497" y="657"/>
                  </a:lnTo>
                  <a:lnTo>
                    <a:pt x="16420" y="665"/>
                  </a:lnTo>
                  <a:lnTo>
                    <a:pt x="15419" y="925"/>
                  </a:lnTo>
                  <a:lnTo>
                    <a:pt x="14655" y="1590"/>
                  </a:lnTo>
                  <a:lnTo>
                    <a:pt x="14453" y="2622"/>
                  </a:lnTo>
                  <a:lnTo>
                    <a:pt x="14495" y="3860"/>
                  </a:lnTo>
                  <a:lnTo>
                    <a:pt x="13807" y="4571"/>
                  </a:lnTo>
                  <a:lnTo>
                    <a:pt x="12299" y="3929"/>
                  </a:lnTo>
                  <a:lnTo>
                    <a:pt x="11145" y="3386"/>
                  </a:lnTo>
                  <a:lnTo>
                    <a:pt x="10179" y="3187"/>
                  </a:lnTo>
                  <a:lnTo>
                    <a:pt x="9116" y="2950"/>
                  </a:lnTo>
                  <a:lnTo>
                    <a:pt x="8546" y="1269"/>
                  </a:lnTo>
                  <a:lnTo>
                    <a:pt x="7197" y="818"/>
                  </a:lnTo>
                  <a:lnTo>
                    <a:pt x="6426" y="589"/>
                  </a:lnTo>
                  <a:lnTo>
                    <a:pt x="5077" y="627"/>
                  </a:lnTo>
                  <a:lnTo>
                    <a:pt x="3534" y="0"/>
                  </a:lnTo>
                  <a:lnTo>
                    <a:pt x="3548" y="1238"/>
                  </a:lnTo>
                  <a:lnTo>
                    <a:pt x="2673" y="1659"/>
                  </a:lnTo>
                  <a:lnTo>
                    <a:pt x="1727" y="2308"/>
                  </a:lnTo>
                  <a:lnTo>
                    <a:pt x="1665" y="3646"/>
                  </a:lnTo>
                  <a:lnTo>
                    <a:pt x="1345" y="4349"/>
                  </a:lnTo>
                  <a:lnTo>
                    <a:pt x="532" y="4533"/>
                  </a:lnTo>
                  <a:lnTo>
                    <a:pt x="838" y="5526"/>
                  </a:lnTo>
                  <a:lnTo>
                    <a:pt x="913" y="6838"/>
                  </a:lnTo>
                  <a:lnTo>
                    <a:pt x="928" y="8270"/>
                  </a:lnTo>
                  <a:lnTo>
                    <a:pt x="664" y="9485"/>
                  </a:lnTo>
                  <a:lnTo>
                    <a:pt x="670" y="10392"/>
                  </a:lnTo>
                  <a:lnTo>
                    <a:pt x="0" y="10783"/>
                  </a:lnTo>
                  <a:lnTo>
                    <a:pt x="692" y="11801"/>
                  </a:lnTo>
                  <a:lnTo>
                    <a:pt x="762" y="13340"/>
                  </a:lnTo>
                  <a:lnTo>
                    <a:pt x="1880" y="13598"/>
                  </a:lnTo>
                  <a:lnTo>
                    <a:pt x="2615" y="14005"/>
                  </a:lnTo>
                  <a:lnTo>
                    <a:pt x="3258" y="15132"/>
                  </a:lnTo>
                  <a:lnTo>
                    <a:pt x="4646" y="15450"/>
                  </a:lnTo>
                  <a:lnTo>
                    <a:pt x="5632" y="15830"/>
                  </a:lnTo>
                  <a:lnTo>
                    <a:pt x="6568" y="16503"/>
                  </a:lnTo>
                  <a:lnTo>
                    <a:pt x="7637" y="16093"/>
                  </a:lnTo>
                  <a:lnTo>
                    <a:pt x="8383" y="15412"/>
                  </a:lnTo>
                  <a:lnTo>
                    <a:pt x="9298" y="15481"/>
                  </a:lnTo>
                  <a:lnTo>
                    <a:pt x="11030" y="16331"/>
                  </a:lnTo>
                  <a:lnTo>
                    <a:pt x="14007" y="18018"/>
                  </a:lnTo>
                  <a:lnTo>
                    <a:pt x="17234" y="19820"/>
                  </a:lnTo>
                  <a:lnTo>
                    <a:pt x="20134" y="21600"/>
                  </a:lnTo>
                  <a:lnTo>
                    <a:pt x="20113" y="20795"/>
                  </a:lnTo>
                  <a:lnTo>
                    <a:pt x="21450" y="20725"/>
                  </a:lnTo>
                  <a:lnTo>
                    <a:pt x="21600" y="17815"/>
                  </a:lnTo>
                  <a:close/>
                  <a:moveTo>
                    <a:pt x="21600" y="17815"/>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0" name="Freeform 11">
              <a:extLst>
                <a:ext uri="{FF2B5EF4-FFF2-40B4-BE49-F238E27FC236}">
                  <a16:creationId xmlns:a16="http://schemas.microsoft.com/office/drawing/2014/main" id="{81CB7037-2D36-411A-BCA9-C415918975B9}"/>
                </a:ext>
              </a:extLst>
            </p:cNvPr>
            <p:cNvSpPr>
              <a:spLocks/>
            </p:cNvSpPr>
            <p:nvPr/>
          </p:nvSpPr>
          <p:spPr bwMode="auto">
            <a:xfrm>
              <a:off x="3568385" y="5039913"/>
              <a:ext cx="1204412" cy="1074235"/>
            </a:xfrm>
            <a:custGeom>
              <a:avLst/>
              <a:gdLst>
                <a:gd name="T0" fmla="*/ 86430832 w 21600"/>
                <a:gd name="T1" fmla="*/ 107000498 h 21600"/>
                <a:gd name="T2" fmla="*/ 87157641 w 21600"/>
                <a:gd name="T3" fmla="*/ 81180153 h 21600"/>
                <a:gd name="T4" fmla="*/ 86155871 w 21600"/>
                <a:gd name="T5" fmla="*/ 65339960 h 21600"/>
                <a:gd name="T6" fmla="*/ 87033270 w 21600"/>
                <a:gd name="T7" fmla="*/ 48400724 h 21600"/>
                <a:gd name="T8" fmla="*/ 95925153 w 21600"/>
                <a:gd name="T9" fmla="*/ 47166286 h 21600"/>
                <a:gd name="T10" fmla="*/ 95833472 w 21600"/>
                <a:gd name="T11" fmla="*/ 38535183 h 21600"/>
                <a:gd name="T12" fmla="*/ 96442383 w 21600"/>
                <a:gd name="T13" fmla="*/ 29924937 h 21600"/>
                <a:gd name="T14" fmla="*/ 96069187 w 21600"/>
                <a:gd name="T15" fmla="*/ 13246171 h 21600"/>
                <a:gd name="T16" fmla="*/ 105046197 w 21600"/>
                <a:gd name="T17" fmla="*/ 12376277 h 21600"/>
                <a:gd name="T18" fmla="*/ 114193458 w 21600"/>
                <a:gd name="T19" fmla="*/ 11641778 h 21600"/>
                <a:gd name="T20" fmla="*/ 120950794 w 21600"/>
                <a:gd name="T21" fmla="*/ 10032260 h 21600"/>
                <a:gd name="T22" fmla="*/ 125350895 w 21600"/>
                <a:gd name="T23" fmla="*/ 14756741 h 21600"/>
                <a:gd name="T24" fmla="*/ 130032593 w 21600"/>
                <a:gd name="T25" fmla="*/ 10907351 h 21600"/>
                <a:gd name="T26" fmla="*/ 141432300 w 21600"/>
                <a:gd name="T27" fmla="*/ 9626001 h 21600"/>
                <a:gd name="T28" fmla="*/ 137785144 w 21600"/>
                <a:gd name="T29" fmla="*/ 5406799 h 21600"/>
                <a:gd name="T30" fmla="*/ 129554608 w 21600"/>
                <a:gd name="T31" fmla="*/ 5271404 h 21600"/>
                <a:gd name="T32" fmla="*/ 119687091 w 21600"/>
                <a:gd name="T33" fmla="*/ 5682859 h 21600"/>
                <a:gd name="T34" fmla="*/ 107606375 w 21600"/>
                <a:gd name="T35" fmla="*/ 7193428 h 21600"/>
                <a:gd name="T36" fmla="*/ 94432289 w 21600"/>
                <a:gd name="T37" fmla="*/ 7610152 h 21600"/>
                <a:gd name="T38" fmla="*/ 78206849 w 21600"/>
                <a:gd name="T39" fmla="*/ 7438237 h 21600"/>
                <a:gd name="T40" fmla="*/ 68588157 w 21600"/>
                <a:gd name="T41" fmla="*/ 3542008 h 21600"/>
                <a:gd name="T42" fmla="*/ 48034634 w 21600"/>
                <a:gd name="T43" fmla="*/ 3542008 h 21600"/>
                <a:gd name="T44" fmla="*/ 23644040 w 21600"/>
                <a:gd name="T45" fmla="*/ 3979589 h 21600"/>
                <a:gd name="T46" fmla="*/ 16402246 w 21600"/>
                <a:gd name="T47" fmla="*/ 0 h 21600"/>
                <a:gd name="T48" fmla="*/ 0 w 21600"/>
                <a:gd name="T49" fmla="*/ 3755566 h 21600"/>
                <a:gd name="T50" fmla="*/ 0 w 21600"/>
                <a:gd name="T51" fmla="*/ 10954263 h 21600"/>
                <a:gd name="T52" fmla="*/ 4675143 w 21600"/>
                <a:gd name="T53" fmla="*/ 17553856 h 21600"/>
                <a:gd name="T54" fmla="*/ 9867517 w 21600"/>
                <a:gd name="T55" fmla="*/ 25117169 h 21600"/>
                <a:gd name="T56" fmla="*/ 15884934 w 21600"/>
                <a:gd name="T57" fmla="*/ 32935611 h 21600"/>
                <a:gd name="T58" fmla="*/ 19381500 w 21600"/>
                <a:gd name="T59" fmla="*/ 39764496 h 21600"/>
                <a:gd name="T60" fmla="*/ 23388743 w 21600"/>
                <a:gd name="T61" fmla="*/ 46223425 h 21600"/>
                <a:gd name="T62" fmla="*/ 28430527 w 21600"/>
                <a:gd name="T63" fmla="*/ 51265609 h 21600"/>
                <a:gd name="T64" fmla="*/ 29871037 w 21600"/>
                <a:gd name="T65" fmla="*/ 58094423 h 21600"/>
                <a:gd name="T66" fmla="*/ 30329359 w 21600"/>
                <a:gd name="T67" fmla="*/ 66647436 h 21600"/>
                <a:gd name="T68" fmla="*/ 33721136 w 21600"/>
                <a:gd name="T69" fmla="*/ 74163764 h 21600"/>
                <a:gd name="T70" fmla="*/ 35626522 w 21600"/>
                <a:gd name="T71" fmla="*/ 85118027 h 21600"/>
                <a:gd name="T72" fmla="*/ 37374764 w 21600"/>
                <a:gd name="T73" fmla="*/ 95327398 h 21600"/>
                <a:gd name="T74" fmla="*/ 40766541 w 21600"/>
                <a:gd name="T75" fmla="*/ 100598802 h 21600"/>
                <a:gd name="T76" fmla="*/ 45494038 w 21600"/>
                <a:gd name="T77" fmla="*/ 106312911 h 21600"/>
                <a:gd name="T78" fmla="*/ 51328176 w 21600"/>
                <a:gd name="T79" fmla="*/ 110453950 h 21600"/>
                <a:gd name="T80" fmla="*/ 54582391 w 21600"/>
                <a:gd name="T81" fmla="*/ 105703487 h 21600"/>
                <a:gd name="T82" fmla="*/ 60062915 w 21600"/>
                <a:gd name="T83" fmla="*/ 105427355 h 21600"/>
                <a:gd name="T84" fmla="*/ 60684935 w 21600"/>
                <a:gd name="T85" fmla="*/ 110636258 h 21600"/>
                <a:gd name="T86" fmla="*/ 68254207 w 21600"/>
                <a:gd name="T87" fmla="*/ 112464530 h 21600"/>
                <a:gd name="T88" fmla="*/ 77768110 w 21600"/>
                <a:gd name="T89" fmla="*/ 112511442 h 21600"/>
                <a:gd name="T90" fmla="*/ 86430832 w 21600"/>
                <a:gd name="T91" fmla="*/ 107000498 h 21600"/>
                <a:gd name="T92" fmla="*/ 86430832 w 21600"/>
                <a:gd name="T93" fmla="*/ 107000498 h 21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1600" h="21600">
                  <a:moveTo>
                    <a:pt x="13200" y="20542"/>
                  </a:moveTo>
                  <a:lnTo>
                    <a:pt x="13311" y="15585"/>
                  </a:lnTo>
                  <a:lnTo>
                    <a:pt x="13158" y="12544"/>
                  </a:lnTo>
                  <a:lnTo>
                    <a:pt x="13292" y="9292"/>
                  </a:lnTo>
                  <a:lnTo>
                    <a:pt x="14650" y="9055"/>
                  </a:lnTo>
                  <a:lnTo>
                    <a:pt x="14636" y="7398"/>
                  </a:lnTo>
                  <a:lnTo>
                    <a:pt x="14729" y="5745"/>
                  </a:lnTo>
                  <a:lnTo>
                    <a:pt x="14672" y="2543"/>
                  </a:lnTo>
                  <a:lnTo>
                    <a:pt x="16043" y="2376"/>
                  </a:lnTo>
                  <a:lnTo>
                    <a:pt x="17440" y="2235"/>
                  </a:lnTo>
                  <a:lnTo>
                    <a:pt x="18472" y="1926"/>
                  </a:lnTo>
                  <a:lnTo>
                    <a:pt x="19144" y="2833"/>
                  </a:lnTo>
                  <a:lnTo>
                    <a:pt x="19859" y="2094"/>
                  </a:lnTo>
                  <a:lnTo>
                    <a:pt x="21600" y="1848"/>
                  </a:lnTo>
                  <a:lnTo>
                    <a:pt x="21043" y="1038"/>
                  </a:lnTo>
                  <a:lnTo>
                    <a:pt x="19786" y="1012"/>
                  </a:lnTo>
                  <a:lnTo>
                    <a:pt x="18279" y="1091"/>
                  </a:lnTo>
                  <a:lnTo>
                    <a:pt x="16434" y="1381"/>
                  </a:lnTo>
                  <a:lnTo>
                    <a:pt x="14422" y="1461"/>
                  </a:lnTo>
                  <a:lnTo>
                    <a:pt x="11944" y="1428"/>
                  </a:lnTo>
                  <a:lnTo>
                    <a:pt x="10475" y="680"/>
                  </a:lnTo>
                  <a:lnTo>
                    <a:pt x="7336" y="680"/>
                  </a:lnTo>
                  <a:lnTo>
                    <a:pt x="3611" y="764"/>
                  </a:lnTo>
                  <a:lnTo>
                    <a:pt x="2505" y="0"/>
                  </a:lnTo>
                  <a:lnTo>
                    <a:pt x="0" y="721"/>
                  </a:lnTo>
                  <a:lnTo>
                    <a:pt x="0" y="2103"/>
                  </a:lnTo>
                  <a:lnTo>
                    <a:pt x="714" y="3370"/>
                  </a:lnTo>
                  <a:lnTo>
                    <a:pt x="1507" y="4822"/>
                  </a:lnTo>
                  <a:lnTo>
                    <a:pt x="2426" y="6323"/>
                  </a:lnTo>
                  <a:lnTo>
                    <a:pt x="2960" y="7634"/>
                  </a:lnTo>
                  <a:lnTo>
                    <a:pt x="3572" y="8874"/>
                  </a:lnTo>
                  <a:lnTo>
                    <a:pt x="4342" y="9842"/>
                  </a:lnTo>
                  <a:lnTo>
                    <a:pt x="4562" y="11153"/>
                  </a:lnTo>
                  <a:lnTo>
                    <a:pt x="4632" y="12795"/>
                  </a:lnTo>
                  <a:lnTo>
                    <a:pt x="5150" y="14238"/>
                  </a:lnTo>
                  <a:lnTo>
                    <a:pt x="5441" y="16341"/>
                  </a:lnTo>
                  <a:lnTo>
                    <a:pt x="5708" y="18301"/>
                  </a:lnTo>
                  <a:lnTo>
                    <a:pt x="6226" y="19313"/>
                  </a:lnTo>
                  <a:lnTo>
                    <a:pt x="6948" y="20410"/>
                  </a:lnTo>
                  <a:lnTo>
                    <a:pt x="7839" y="21205"/>
                  </a:lnTo>
                  <a:lnTo>
                    <a:pt x="8336" y="20293"/>
                  </a:lnTo>
                  <a:lnTo>
                    <a:pt x="9173" y="20240"/>
                  </a:lnTo>
                  <a:lnTo>
                    <a:pt x="9268" y="21240"/>
                  </a:lnTo>
                  <a:lnTo>
                    <a:pt x="10424" y="21591"/>
                  </a:lnTo>
                  <a:lnTo>
                    <a:pt x="11877" y="21600"/>
                  </a:lnTo>
                  <a:lnTo>
                    <a:pt x="13200" y="20542"/>
                  </a:lnTo>
                  <a:close/>
                  <a:moveTo>
                    <a:pt x="13200" y="20542"/>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1" name="Freeform 12">
              <a:extLst>
                <a:ext uri="{FF2B5EF4-FFF2-40B4-BE49-F238E27FC236}">
                  <a16:creationId xmlns:a16="http://schemas.microsoft.com/office/drawing/2014/main" id="{5448B176-8BD6-4342-AAC9-175E75D0AC5C}"/>
                </a:ext>
              </a:extLst>
            </p:cNvPr>
            <p:cNvSpPr>
              <a:spLocks/>
            </p:cNvSpPr>
            <p:nvPr/>
          </p:nvSpPr>
          <p:spPr bwMode="auto">
            <a:xfrm>
              <a:off x="1421010" y="1151008"/>
              <a:ext cx="1478987" cy="1376158"/>
            </a:xfrm>
            <a:custGeom>
              <a:avLst/>
              <a:gdLst>
                <a:gd name="T0" fmla="*/ 20329634 w 21600"/>
                <a:gd name="T1" fmla="*/ 118095181 h 21600"/>
                <a:gd name="T2" fmla="*/ 32108747 w 21600"/>
                <a:gd name="T3" fmla="*/ 116641939 h 21600"/>
                <a:gd name="T4" fmla="*/ 87390778 w 21600"/>
                <a:gd name="T5" fmla="*/ 117103578 h 21600"/>
                <a:gd name="T6" fmla="*/ 90629306 w 21600"/>
                <a:gd name="T7" fmla="*/ 110205071 h 21600"/>
                <a:gd name="T8" fmla="*/ 86442928 w 21600"/>
                <a:gd name="T9" fmla="*/ 101879024 h 21600"/>
                <a:gd name="T10" fmla="*/ 86808296 w 21600"/>
                <a:gd name="T11" fmla="*/ 76738347 h 21600"/>
                <a:gd name="T12" fmla="*/ 86067723 w 21600"/>
                <a:gd name="T13" fmla="*/ 52409812 h 21600"/>
                <a:gd name="T14" fmla="*/ 88210346 w 21600"/>
                <a:gd name="T15" fmla="*/ 25097870 h 21600"/>
                <a:gd name="T16" fmla="*/ 88713833 w 21600"/>
                <a:gd name="T17" fmla="*/ 0 h 21600"/>
                <a:gd name="T18" fmla="*/ 109902484 w 21600"/>
                <a:gd name="T19" fmla="*/ 111134 h 21600"/>
                <a:gd name="T20" fmla="*/ 162163200 w 21600"/>
                <a:gd name="T21" fmla="*/ 40254098 h 21600"/>
                <a:gd name="T22" fmla="*/ 177536272 w 21600"/>
                <a:gd name="T23" fmla="*/ 50717199 h 21600"/>
                <a:gd name="T24" fmla="*/ 182996420 w 21600"/>
                <a:gd name="T25" fmla="*/ 60710248 h 21600"/>
                <a:gd name="T26" fmla="*/ 191003808 w 21600"/>
                <a:gd name="T27" fmla="*/ 62539606 h 21600"/>
                <a:gd name="T28" fmla="*/ 196977378 w 21600"/>
                <a:gd name="T29" fmla="*/ 64907434 h 21600"/>
                <a:gd name="T30" fmla="*/ 202921238 w 21600"/>
                <a:gd name="T31" fmla="*/ 67848127 h 21600"/>
                <a:gd name="T32" fmla="*/ 201519187 w 21600"/>
                <a:gd name="T33" fmla="*/ 76259603 h 21600"/>
                <a:gd name="T34" fmla="*/ 213081087 w 21600"/>
                <a:gd name="T35" fmla="*/ 76516079 h 21600"/>
                <a:gd name="T36" fmla="*/ 212992254 w 21600"/>
                <a:gd name="T37" fmla="*/ 85714089 h 21600"/>
                <a:gd name="T38" fmla="*/ 213268689 w 21600"/>
                <a:gd name="T39" fmla="*/ 103939155 h 21600"/>
                <a:gd name="T40" fmla="*/ 209348910 w 21600"/>
                <a:gd name="T41" fmla="*/ 113744054 h 21600"/>
                <a:gd name="T42" fmla="*/ 202259661 w 21600"/>
                <a:gd name="T43" fmla="*/ 121899147 h 21600"/>
                <a:gd name="T44" fmla="*/ 174189137 w 21600"/>
                <a:gd name="T45" fmla="*/ 123113017 h 21600"/>
                <a:gd name="T46" fmla="*/ 169252448 w 21600"/>
                <a:gd name="T47" fmla="*/ 127190563 h 21600"/>
                <a:gd name="T48" fmla="*/ 159734304 w 21600"/>
                <a:gd name="T49" fmla="*/ 126318692 h 21600"/>
                <a:gd name="T50" fmla="*/ 148873429 w 21600"/>
                <a:gd name="T51" fmla="*/ 124797032 h 21600"/>
                <a:gd name="T52" fmla="*/ 141270758 w 21600"/>
                <a:gd name="T53" fmla="*/ 128173660 h 21600"/>
                <a:gd name="T54" fmla="*/ 132325357 w 21600"/>
                <a:gd name="T55" fmla="*/ 130396238 h 21600"/>
                <a:gd name="T56" fmla="*/ 128257423 w 21600"/>
                <a:gd name="T57" fmla="*/ 135414074 h 21600"/>
                <a:gd name="T58" fmla="*/ 121977806 w 21600"/>
                <a:gd name="T59" fmla="*/ 134431070 h 21600"/>
                <a:gd name="T60" fmla="*/ 118699830 w 21600"/>
                <a:gd name="T61" fmla="*/ 140440509 h 21600"/>
                <a:gd name="T62" fmla="*/ 113565602 w 21600"/>
                <a:gd name="T63" fmla="*/ 145210467 h 21600"/>
                <a:gd name="T64" fmla="*/ 105607499 w 21600"/>
                <a:gd name="T65" fmla="*/ 143979492 h 21600"/>
                <a:gd name="T66" fmla="*/ 99584643 w 21600"/>
                <a:gd name="T67" fmla="*/ 147270598 h 21600"/>
                <a:gd name="T68" fmla="*/ 98083823 w 21600"/>
                <a:gd name="T69" fmla="*/ 157066990 h 21600"/>
                <a:gd name="T70" fmla="*/ 93216194 w 21600"/>
                <a:gd name="T71" fmla="*/ 162084918 h 21600"/>
                <a:gd name="T72" fmla="*/ 87647539 w 21600"/>
                <a:gd name="T73" fmla="*/ 163794544 h 21600"/>
                <a:gd name="T74" fmla="*/ 86581146 w 21600"/>
                <a:gd name="T75" fmla="*/ 170564813 h 21600"/>
                <a:gd name="T76" fmla="*/ 85011266 w 21600"/>
                <a:gd name="T77" fmla="*/ 182532470 h 21600"/>
                <a:gd name="T78" fmla="*/ 75167301 w 21600"/>
                <a:gd name="T79" fmla="*/ 184643915 h 21600"/>
                <a:gd name="T80" fmla="*/ 73834409 w 21600"/>
                <a:gd name="T81" fmla="*/ 177480425 h 21600"/>
                <a:gd name="T82" fmla="*/ 66133067 w 21600"/>
                <a:gd name="T83" fmla="*/ 182421337 h 21600"/>
                <a:gd name="T84" fmla="*/ 56842073 w 21600"/>
                <a:gd name="T85" fmla="*/ 181395524 h 21600"/>
                <a:gd name="T86" fmla="*/ 47718907 w 21600"/>
                <a:gd name="T87" fmla="*/ 181805849 h 21600"/>
                <a:gd name="T88" fmla="*/ 44806199 w 21600"/>
                <a:gd name="T89" fmla="*/ 173736279 h 21600"/>
                <a:gd name="T90" fmla="*/ 43384374 w 21600"/>
                <a:gd name="T91" fmla="*/ 166906098 h 21600"/>
                <a:gd name="T92" fmla="*/ 42239085 w 21600"/>
                <a:gd name="T93" fmla="*/ 155135097 h 21600"/>
                <a:gd name="T94" fmla="*/ 34626576 w 21600"/>
                <a:gd name="T95" fmla="*/ 154057971 h 21600"/>
                <a:gd name="T96" fmla="*/ 31437432 w 21600"/>
                <a:gd name="T97" fmla="*/ 159580254 h 21600"/>
                <a:gd name="T98" fmla="*/ 24012427 w 21600"/>
                <a:gd name="T99" fmla="*/ 157930355 h 21600"/>
                <a:gd name="T100" fmla="*/ 17723072 w 21600"/>
                <a:gd name="T101" fmla="*/ 161965186 h 21600"/>
                <a:gd name="T102" fmla="*/ 15057189 w 21600"/>
                <a:gd name="T103" fmla="*/ 156819112 h 21600"/>
                <a:gd name="T104" fmla="*/ 9587204 w 21600"/>
                <a:gd name="T105" fmla="*/ 160648781 h 21600"/>
                <a:gd name="T106" fmla="*/ 9932798 w 21600"/>
                <a:gd name="T107" fmla="*/ 153810094 h 21600"/>
                <a:gd name="T108" fmla="*/ 9676037 w 21600"/>
                <a:gd name="T109" fmla="*/ 144184654 h 21600"/>
                <a:gd name="T110" fmla="*/ 2685558 w 21600"/>
                <a:gd name="T111" fmla="*/ 140312271 h 21600"/>
                <a:gd name="T112" fmla="*/ 3100310 w 21600"/>
                <a:gd name="T113" fmla="*/ 132900903 h 21600"/>
                <a:gd name="T114" fmla="*/ 0 w 21600"/>
                <a:gd name="T115" fmla="*/ 125053508 h 21600"/>
                <a:gd name="T116" fmla="*/ 8343145 w 21600"/>
                <a:gd name="T117" fmla="*/ 122865139 h 21600"/>
                <a:gd name="T118" fmla="*/ 9004722 w 21600"/>
                <a:gd name="T119" fmla="*/ 112196783 h 21600"/>
                <a:gd name="T120" fmla="*/ 20329634 w 21600"/>
                <a:gd name="T121" fmla="*/ 118095181 h 21600"/>
                <a:gd name="T122" fmla="*/ 20329634 w 21600"/>
                <a:gd name="T123" fmla="*/ 118095181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600" h="21600">
                  <a:moveTo>
                    <a:pt x="2059" y="13815"/>
                  </a:moveTo>
                  <a:lnTo>
                    <a:pt x="3252" y="13645"/>
                  </a:lnTo>
                  <a:lnTo>
                    <a:pt x="8851" y="13699"/>
                  </a:lnTo>
                  <a:lnTo>
                    <a:pt x="9179" y="12892"/>
                  </a:lnTo>
                  <a:lnTo>
                    <a:pt x="8755" y="11918"/>
                  </a:lnTo>
                  <a:lnTo>
                    <a:pt x="8792" y="8977"/>
                  </a:lnTo>
                  <a:lnTo>
                    <a:pt x="8717" y="6131"/>
                  </a:lnTo>
                  <a:lnTo>
                    <a:pt x="8934" y="2936"/>
                  </a:lnTo>
                  <a:lnTo>
                    <a:pt x="8985" y="0"/>
                  </a:lnTo>
                  <a:lnTo>
                    <a:pt x="11131" y="13"/>
                  </a:lnTo>
                  <a:lnTo>
                    <a:pt x="16424" y="4709"/>
                  </a:lnTo>
                  <a:lnTo>
                    <a:pt x="17981" y="5933"/>
                  </a:lnTo>
                  <a:lnTo>
                    <a:pt x="18534" y="7102"/>
                  </a:lnTo>
                  <a:lnTo>
                    <a:pt x="19345" y="7316"/>
                  </a:lnTo>
                  <a:lnTo>
                    <a:pt x="19950" y="7593"/>
                  </a:lnTo>
                  <a:lnTo>
                    <a:pt x="20552" y="7937"/>
                  </a:lnTo>
                  <a:lnTo>
                    <a:pt x="20410" y="8921"/>
                  </a:lnTo>
                  <a:lnTo>
                    <a:pt x="21581" y="8951"/>
                  </a:lnTo>
                  <a:lnTo>
                    <a:pt x="21572" y="10027"/>
                  </a:lnTo>
                  <a:lnTo>
                    <a:pt x="21600" y="12159"/>
                  </a:lnTo>
                  <a:lnTo>
                    <a:pt x="21203" y="13306"/>
                  </a:lnTo>
                  <a:lnTo>
                    <a:pt x="20485" y="14260"/>
                  </a:lnTo>
                  <a:lnTo>
                    <a:pt x="17642" y="14402"/>
                  </a:lnTo>
                  <a:lnTo>
                    <a:pt x="17142" y="14879"/>
                  </a:lnTo>
                  <a:lnTo>
                    <a:pt x="16178" y="14777"/>
                  </a:lnTo>
                  <a:lnTo>
                    <a:pt x="15078" y="14599"/>
                  </a:lnTo>
                  <a:lnTo>
                    <a:pt x="14308" y="14994"/>
                  </a:lnTo>
                  <a:lnTo>
                    <a:pt x="13402" y="15254"/>
                  </a:lnTo>
                  <a:lnTo>
                    <a:pt x="12990" y="15841"/>
                  </a:lnTo>
                  <a:lnTo>
                    <a:pt x="12354" y="15726"/>
                  </a:lnTo>
                  <a:lnTo>
                    <a:pt x="12022" y="16429"/>
                  </a:lnTo>
                  <a:lnTo>
                    <a:pt x="11502" y="16987"/>
                  </a:lnTo>
                  <a:lnTo>
                    <a:pt x="10696" y="16843"/>
                  </a:lnTo>
                  <a:lnTo>
                    <a:pt x="10086" y="17228"/>
                  </a:lnTo>
                  <a:lnTo>
                    <a:pt x="9934" y="18374"/>
                  </a:lnTo>
                  <a:lnTo>
                    <a:pt x="9441" y="18961"/>
                  </a:lnTo>
                  <a:lnTo>
                    <a:pt x="8877" y="19161"/>
                  </a:lnTo>
                  <a:lnTo>
                    <a:pt x="8769" y="19953"/>
                  </a:lnTo>
                  <a:lnTo>
                    <a:pt x="8610" y="21353"/>
                  </a:lnTo>
                  <a:lnTo>
                    <a:pt x="7613" y="21600"/>
                  </a:lnTo>
                  <a:lnTo>
                    <a:pt x="7478" y="20762"/>
                  </a:lnTo>
                  <a:lnTo>
                    <a:pt x="6698" y="21340"/>
                  </a:lnTo>
                  <a:lnTo>
                    <a:pt x="5757" y="21220"/>
                  </a:lnTo>
                  <a:lnTo>
                    <a:pt x="4833" y="21268"/>
                  </a:lnTo>
                  <a:lnTo>
                    <a:pt x="4538" y="20324"/>
                  </a:lnTo>
                  <a:lnTo>
                    <a:pt x="4394" y="19525"/>
                  </a:lnTo>
                  <a:lnTo>
                    <a:pt x="4278" y="18148"/>
                  </a:lnTo>
                  <a:lnTo>
                    <a:pt x="3507" y="18022"/>
                  </a:lnTo>
                  <a:lnTo>
                    <a:pt x="3184" y="18668"/>
                  </a:lnTo>
                  <a:lnTo>
                    <a:pt x="2432" y="18475"/>
                  </a:lnTo>
                  <a:lnTo>
                    <a:pt x="1795" y="18947"/>
                  </a:lnTo>
                  <a:lnTo>
                    <a:pt x="1525" y="18345"/>
                  </a:lnTo>
                  <a:lnTo>
                    <a:pt x="971" y="18793"/>
                  </a:lnTo>
                  <a:lnTo>
                    <a:pt x="1006" y="17993"/>
                  </a:lnTo>
                  <a:lnTo>
                    <a:pt x="980" y="16867"/>
                  </a:lnTo>
                  <a:lnTo>
                    <a:pt x="272" y="16414"/>
                  </a:lnTo>
                  <a:lnTo>
                    <a:pt x="314" y="15547"/>
                  </a:lnTo>
                  <a:lnTo>
                    <a:pt x="0" y="14629"/>
                  </a:lnTo>
                  <a:lnTo>
                    <a:pt x="845" y="14373"/>
                  </a:lnTo>
                  <a:lnTo>
                    <a:pt x="912" y="13125"/>
                  </a:lnTo>
                  <a:lnTo>
                    <a:pt x="2059" y="13815"/>
                  </a:lnTo>
                  <a:close/>
                  <a:moveTo>
                    <a:pt x="2059" y="1381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2" name="Freeform 13">
              <a:extLst>
                <a:ext uri="{FF2B5EF4-FFF2-40B4-BE49-F238E27FC236}">
                  <a16:creationId xmlns:a16="http://schemas.microsoft.com/office/drawing/2014/main" id="{B6E684C7-1383-4113-9E71-558591CD44ED}"/>
                </a:ext>
              </a:extLst>
            </p:cNvPr>
            <p:cNvSpPr>
              <a:spLocks/>
            </p:cNvSpPr>
            <p:nvPr/>
          </p:nvSpPr>
          <p:spPr bwMode="auto">
            <a:xfrm>
              <a:off x="5215837" y="4472165"/>
              <a:ext cx="949527" cy="148883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0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00" h="21600">
                  <a:moveTo>
                    <a:pt x="3828" y="21600"/>
                  </a:moveTo>
                  <a:lnTo>
                    <a:pt x="2828" y="21446"/>
                  </a:lnTo>
                  <a:lnTo>
                    <a:pt x="2613" y="20293"/>
                  </a:lnTo>
                  <a:lnTo>
                    <a:pt x="2666" y="19197"/>
                  </a:lnTo>
                  <a:lnTo>
                    <a:pt x="2720" y="18021"/>
                  </a:lnTo>
                  <a:lnTo>
                    <a:pt x="1986" y="17210"/>
                  </a:lnTo>
                  <a:lnTo>
                    <a:pt x="1682" y="15502"/>
                  </a:lnTo>
                  <a:lnTo>
                    <a:pt x="3758" y="14280"/>
                  </a:lnTo>
                  <a:lnTo>
                    <a:pt x="4205" y="13184"/>
                  </a:lnTo>
                  <a:lnTo>
                    <a:pt x="5404" y="12259"/>
                  </a:lnTo>
                  <a:lnTo>
                    <a:pt x="4939" y="11483"/>
                  </a:lnTo>
                  <a:lnTo>
                    <a:pt x="5208" y="10706"/>
                  </a:lnTo>
                  <a:lnTo>
                    <a:pt x="5440" y="9790"/>
                  </a:lnTo>
                  <a:lnTo>
                    <a:pt x="5369" y="7997"/>
                  </a:lnTo>
                  <a:lnTo>
                    <a:pt x="3472" y="7581"/>
                  </a:lnTo>
                  <a:lnTo>
                    <a:pt x="2184" y="7278"/>
                  </a:lnTo>
                  <a:lnTo>
                    <a:pt x="251" y="6988"/>
                  </a:lnTo>
                  <a:lnTo>
                    <a:pt x="233" y="6348"/>
                  </a:lnTo>
                  <a:lnTo>
                    <a:pt x="0" y="5686"/>
                  </a:lnTo>
                  <a:lnTo>
                    <a:pt x="1342" y="5492"/>
                  </a:lnTo>
                  <a:lnTo>
                    <a:pt x="3579" y="5024"/>
                  </a:lnTo>
                  <a:lnTo>
                    <a:pt x="6174" y="4556"/>
                  </a:lnTo>
                  <a:lnTo>
                    <a:pt x="7087" y="5035"/>
                  </a:lnTo>
                  <a:lnTo>
                    <a:pt x="8805" y="5035"/>
                  </a:lnTo>
                  <a:lnTo>
                    <a:pt x="9001" y="5983"/>
                  </a:lnTo>
                  <a:lnTo>
                    <a:pt x="8321" y="6839"/>
                  </a:lnTo>
                  <a:lnTo>
                    <a:pt x="8733" y="7479"/>
                  </a:lnTo>
                  <a:lnTo>
                    <a:pt x="9431" y="7970"/>
                  </a:lnTo>
                  <a:lnTo>
                    <a:pt x="9592" y="8735"/>
                  </a:lnTo>
                  <a:lnTo>
                    <a:pt x="10505" y="8335"/>
                  </a:lnTo>
                  <a:lnTo>
                    <a:pt x="10469" y="7444"/>
                  </a:lnTo>
                  <a:lnTo>
                    <a:pt x="11489" y="7205"/>
                  </a:lnTo>
                  <a:lnTo>
                    <a:pt x="11489" y="6154"/>
                  </a:lnTo>
                  <a:lnTo>
                    <a:pt x="11650" y="5469"/>
                  </a:lnTo>
                  <a:lnTo>
                    <a:pt x="10887" y="4838"/>
                  </a:lnTo>
                  <a:lnTo>
                    <a:pt x="10200" y="4133"/>
                  </a:lnTo>
                  <a:lnTo>
                    <a:pt x="9198" y="3494"/>
                  </a:lnTo>
                  <a:lnTo>
                    <a:pt x="9001" y="2478"/>
                  </a:lnTo>
                  <a:lnTo>
                    <a:pt x="9145" y="1644"/>
                  </a:lnTo>
                  <a:lnTo>
                    <a:pt x="10469" y="1347"/>
                  </a:lnTo>
                  <a:lnTo>
                    <a:pt x="12169" y="1096"/>
                  </a:lnTo>
                  <a:lnTo>
                    <a:pt x="13350" y="1347"/>
                  </a:lnTo>
                  <a:lnTo>
                    <a:pt x="15301" y="1370"/>
                  </a:lnTo>
                  <a:lnTo>
                    <a:pt x="16017" y="902"/>
                  </a:lnTo>
                  <a:lnTo>
                    <a:pt x="17305" y="856"/>
                  </a:lnTo>
                  <a:lnTo>
                    <a:pt x="19435" y="651"/>
                  </a:lnTo>
                  <a:lnTo>
                    <a:pt x="20473" y="263"/>
                  </a:lnTo>
                  <a:lnTo>
                    <a:pt x="21421" y="0"/>
                  </a:lnTo>
                  <a:lnTo>
                    <a:pt x="21475" y="913"/>
                  </a:lnTo>
                  <a:lnTo>
                    <a:pt x="21600" y="2249"/>
                  </a:lnTo>
                  <a:lnTo>
                    <a:pt x="21511" y="3608"/>
                  </a:lnTo>
                  <a:lnTo>
                    <a:pt x="21511" y="4967"/>
                  </a:lnTo>
                  <a:lnTo>
                    <a:pt x="21511" y="6200"/>
                  </a:lnTo>
                  <a:lnTo>
                    <a:pt x="20669" y="7068"/>
                  </a:lnTo>
                  <a:lnTo>
                    <a:pt x="19524" y="7821"/>
                  </a:lnTo>
                  <a:lnTo>
                    <a:pt x="17913" y="8575"/>
                  </a:lnTo>
                  <a:lnTo>
                    <a:pt x="16428" y="8815"/>
                  </a:lnTo>
                  <a:lnTo>
                    <a:pt x="14997" y="9157"/>
                  </a:lnTo>
                  <a:lnTo>
                    <a:pt x="13493" y="9708"/>
                  </a:lnTo>
                  <a:lnTo>
                    <a:pt x="12294" y="10678"/>
                  </a:lnTo>
                  <a:lnTo>
                    <a:pt x="10719" y="11158"/>
                  </a:lnTo>
                  <a:lnTo>
                    <a:pt x="9771" y="11946"/>
                  </a:lnTo>
                  <a:lnTo>
                    <a:pt x="8661" y="12368"/>
                  </a:lnTo>
                  <a:lnTo>
                    <a:pt x="9288" y="13267"/>
                  </a:lnTo>
                  <a:lnTo>
                    <a:pt x="9574" y="14557"/>
                  </a:lnTo>
                  <a:lnTo>
                    <a:pt x="9789" y="16259"/>
                  </a:lnTo>
                  <a:lnTo>
                    <a:pt x="9664" y="17754"/>
                  </a:lnTo>
                  <a:lnTo>
                    <a:pt x="8644" y="18618"/>
                  </a:lnTo>
                  <a:lnTo>
                    <a:pt x="6872" y="18880"/>
                  </a:lnTo>
                  <a:lnTo>
                    <a:pt x="5530" y="19177"/>
                  </a:lnTo>
                  <a:lnTo>
                    <a:pt x="4170" y="19634"/>
                  </a:lnTo>
                  <a:lnTo>
                    <a:pt x="3597" y="20775"/>
                  </a:lnTo>
                  <a:lnTo>
                    <a:pt x="3828" y="21600"/>
                  </a:lnTo>
                  <a:close/>
                  <a:moveTo>
                    <a:pt x="3828"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3" name="Freeform 14">
              <a:extLst>
                <a:ext uri="{FF2B5EF4-FFF2-40B4-BE49-F238E27FC236}">
                  <a16:creationId xmlns:a16="http://schemas.microsoft.com/office/drawing/2014/main" id="{50423575-7C8A-4FD7-9F26-1E026CEDBA46}"/>
                </a:ext>
              </a:extLst>
            </p:cNvPr>
            <p:cNvSpPr>
              <a:spLocks/>
            </p:cNvSpPr>
            <p:nvPr/>
          </p:nvSpPr>
          <p:spPr bwMode="auto">
            <a:xfrm>
              <a:off x="1705431" y="2472470"/>
              <a:ext cx="544775" cy="601659"/>
            </a:xfrm>
            <a:custGeom>
              <a:avLst/>
              <a:gdLst>
                <a:gd name="T0" fmla="*/ 4113955 w 21600"/>
                <a:gd name="T1" fmla="*/ 35293855 h 21600"/>
                <a:gd name="T2" fmla="*/ 4142064 w 21600"/>
                <a:gd name="T3" fmla="*/ 31530807 h 21600"/>
                <a:gd name="T4" fmla="*/ 4553346 w 21600"/>
                <a:gd name="T5" fmla="*/ 27440985 h 21600"/>
                <a:gd name="T6" fmla="*/ 3320891 w 21600"/>
                <a:gd name="T7" fmla="*/ 24865832 h 21600"/>
                <a:gd name="T8" fmla="*/ 0 w 21600"/>
                <a:gd name="T9" fmla="*/ 23607683 h 21600"/>
                <a:gd name="T10" fmla="*/ 723376 w 21600"/>
                <a:gd name="T11" fmla="*/ 21130555 h 21600"/>
                <a:gd name="T12" fmla="*/ 411245 w 21600"/>
                <a:gd name="T13" fmla="*/ 17135482 h 21600"/>
                <a:gd name="T14" fmla="*/ 1239153 w 21600"/>
                <a:gd name="T15" fmla="*/ 13761339 h 21600"/>
                <a:gd name="T16" fmla="*/ 4020184 w 21600"/>
                <a:gd name="T17" fmla="*/ 13037494 h 21600"/>
                <a:gd name="T18" fmla="*/ 3319573 w 21600"/>
                <a:gd name="T19" fmla="*/ 9107785 h 21600"/>
                <a:gd name="T20" fmla="*/ 2367077 w 21600"/>
                <a:gd name="T21" fmla="*/ 6336543 h 21600"/>
                <a:gd name="T22" fmla="*/ 2237144 w 21600"/>
                <a:gd name="T23" fmla="*/ 2089841 h 21600"/>
                <a:gd name="T24" fmla="*/ 5657186 w 21600"/>
                <a:gd name="T25" fmla="*/ 1661767 h 21600"/>
                <a:gd name="T26" fmla="*/ 8836066 w 21600"/>
                <a:gd name="T27" fmla="*/ 2151930 h 21600"/>
                <a:gd name="T28" fmla="*/ 12410161 w 21600"/>
                <a:gd name="T29" fmla="*/ 0 h 21600"/>
                <a:gd name="T30" fmla="*/ 12774521 w 21600"/>
                <a:gd name="T31" fmla="*/ 3382308 h 21600"/>
                <a:gd name="T32" fmla="*/ 15288988 w 21600"/>
                <a:gd name="T33" fmla="*/ 2230390 h 21600"/>
                <a:gd name="T34" fmla="*/ 17345289 w 21600"/>
                <a:gd name="T35" fmla="*/ 3962371 h 21600"/>
                <a:gd name="T36" fmla="*/ 20734513 w 21600"/>
                <a:gd name="T37" fmla="*/ 6236902 h 21600"/>
                <a:gd name="T38" fmla="*/ 23727205 w 21600"/>
                <a:gd name="T39" fmla="*/ 5254879 h 21600"/>
                <a:gd name="T40" fmla="*/ 26532319 w 21600"/>
                <a:gd name="T41" fmla="*/ 5668239 h 21600"/>
                <a:gd name="T42" fmla="*/ 28098353 w 21600"/>
                <a:gd name="T43" fmla="*/ 8073455 h 21600"/>
                <a:gd name="T44" fmla="*/ 28935594 w 21600"/>
                <a:gd name="T45" fmla="*/ 12295662 h 21600"/>
                <a:gd name="T46" fmla="*/ 28569880 w 21600"/>
                <a:gd name="T47" fmla="*/ 15677970 h 21600"/>
                <a:gd name="T48" fmla="*/ 26648892 w 21600"/>
                <a:gd name="T49" fmla="*/ 19370763 h 21600"/>
                <a:gd name="T50" fmla="*/ 25192734 w 21600"/>
                <a:gd name="T51" fmla="*/ 24261274 h 21600"/>
                <a:gd name="T52" fmla="*/ 26017933 w 21600"/>
                <a:gd name="T53" fmla="*/ 27130500 h 21600"/>
                <a:gd name="T54" fmla="*/ 27748707 w 21600"/>
                <a:gd name="T55" fmla="*/ 29378878 h 21600"/>
                <a:gd name="T56" fmla="*/ 27625472 w 21600"/>
                <a:gd name="T57" fmla="*/ 32705646 h 21600"/>
                <a:gd name="T58" fmla="*/ 22020515 w 21600"/>
                <a:gd name="T59" fmla="*/ 31499763 h 21600"/>
                <a:gd name="T60" fmla="*/ 17065293 w 21600"/>
                <a:gd name="T61" fmla="*/ 31292234 h 21600"/>
                <a:gd name="T62" fmla="*/ 13231334 w 21600"/>
                <a:gd name="T63" fmla="*/ 31576566 h 21600"/>
                <a:gd name="T64" fmla="*/ 9256718 w 21600"/>
                <a:gd name="T65" fmla="*/ 33024255 h 21600"/>
                <a:gd name="T66" fmla="*/ 4113955 w 21600"/>
                <a:gd name="T67" fmla="*/ 35293855 h 21600"/>
                <a:gd name="T68" fmla="*/ 4113955 w 21600"/>
                <a:gd name="T69" fmla="*/ 35293855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3071" y="21600"/>
                  </a:moveTo>
                  <a:lnTo>
                    <a:pt x="3092" y="19297"/>
                  </a:lnTo>
                  <a:lnTo>
                    <a:pt x="3399" y="16794"/>
                  </a:lnTo>
                  <a:lnTo>
                    <a:pt x="2479" y="15218"/>
                  </a:lnTo>
                  <a:lnTo>
                    <a:pt x="0" y="14448"/>
                  </a:lnTo>
                  <a:lnTo>
                    <a:pt x="540" y="12932"/>
                  </a:lnTo>
                  <a:lnTo>
                    <a:pt x="307" y="10487"/>
                  </a:lnTo>
                  <a:lnTo>
                    <a:pt x="925" y="8422"/>
                  </a:lnTo>
                  <a:lnTo>
                    <a:pt x="3001" y="7979"/>
                  </a:lnTo>
                  <a:lnTo>
                    <a:pt x="2478" y="5574"/>
                  </a:lnTo>
                  <a:lnTo>
                    <a:pt x="1767" y="3878"/>
                  </a:lnTo>
                  <a:lnTo>
                    <a:pt x="1670" y="1279"/>
                  </a:lnTo>
                  <a:lnTo>
                    <a:pt x="4223" y="1017"/>
                  </a:lnTo>
                  <a:lnTo>
                    <a:pt x="6596" y="1317"/>
                  </a:lnTo>
                  <a:lnTo>
                    <a:pt x="9264" y="0"/>
                  </a:lnTo>
                  <a:lnTo>
                    <a:pt x="9536" y="2070"/>
                  </a:lnTo>
                  <a:lnTo>
                    <a:pt x="11413" y="1365"/>
                  </a:lnTo>
                  <a:lnTo>
                    <a:pt x="12948" y="2425"/>
                  </a:lnTo>
                  <a:lnTo>
                    <a:pt x="15478" y="3817"/>
                  </a:lnTo>
                  <a:lnTo>
                    <a:pt x="17712" y="3216"/>
                  </a:lnTo>
                  <a:lnTo>
                    <a:pt x="19806" y="3469"/>
                  </a:lnTo>
                  <a:lnTo>
                    <a:pt x="20975" y="4941"/>
                  </a:lnTo>
                  <a:lnTo>
                    <a:pt x="21600" y="7525"/>
                  </a:lnTo>
                  <a:lnTo>
                    <a:pt x="21327" y="9595"/>
                  </a:lnTo>
                  <a:lnTo>
                    <a:pt x="19893" y="11855"/>
                  </a:lnTo>
                  <a:lnTo>
                    <a:pt x="18806" y="14848"/>
                  </a:lnTo>
                  <a:lnTo>
                    <a:pt x="19422" y="16604"/>
                  </a:lnTo>
                  <a:lnTo>
                    <a:pt x="20714" y="17980"/>
                  </a:lnTo>
                  <a:lnTo>
                    <a:pt x="20622" y="20016"/>
                  </a:lnTo>
                  <a:lnTo>
                    <a:pt x="16438" y="19278"/>
                  </a:lnTo>
                  <a:lnTo>
                    <a:pt x="12739" y="19151"/>
                  </a:lnTo>
                  <a:lnTo>
                    <a:pt x="9877" y="19325"/>
                  </a:lnTo>
                  <a:lnTo>
                    <a:pt x="6910" y="20211"/>
                  </a:lnTo>
                  <a:lnTo>
                    <a:pt x="3071" y="21600"/>
                  </a:lnTo>
                  <a:close/>
                  <a:moveTo>
                    <a:pt x="3071"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4" name="Freeform 15">
              <a:extLst>
                <a:ext uri="{FF2B5EF4-FFF2-40B4-BE49-F238E27FC236}">
                  <a16:creationId xmlns:a16="http://schemas.microsoft.com/office/drawing/2014/main" id="{AB4DEE66-9454-4EF5-A19A-390D16A0595B}"/>
                </a:ext>
              </a:extLst>
            </p:cNvPr>
            <p:cNvSpPr>
              <a:spLocks/>
            </p:cNvSpPr>
            <p:nvPr/>
          </p:nvSpPr>
          <p:spPr bwMode="auto">
            <a:xfrm>
              <a:off x="4767328" y="4928333"/>
              <a:ext cx="692455" cy="611504"/>
            </a:xfrm>
            <a:custGeom>
              <a:avLst/>
              <a:gdLst>
                <a:gd name="T0" fmla="*/ 22227890 w 21600"/>
                <a:gd name="T1" fmla="*/ 35624538 h 21600"/>
                <a:gd name="T2" fmla="*/ 21901069 w 21600"/>
                <a:gd name="T3" fmla="*/ 32647107 h 21600"/>
                <a:gd name="T4" fmla="*/ 15265179 w 21600"/>
                <a:gd name="T5" fmla="*/ 31602303 h 21600"/>
                <a:gd name="T6" fmla="*/ 14375621 w 21600"/>
                <a:gd name="T7" fmla="*/ 28937108 h 21600"/>
                <a:gd name="T8" fmla="*/ 14494672 w 21600"/>
                <a:gd name="T9" fmla="*/ 25984985 h 21600"/>
                <a:gd name="T10" fmla="*/ 11828183 w 21600"/>
                <a:gd name="T11" fmla="*/ 23868384 h 21600"/>
                <a:gd name="T12" fmla="*/ 7057943 w 21600"/>
                <a:gd name="T13" fmla="*/ 21935756 h 21600"/>
                <a:gd name="T14" fmla="*/ 4415273 w 21600"/>
                <a:gd name="T15" fmla="*/ 18619054 h 21600"/>
                <a:gd name="T16" fmla="*/ 2311522 w 21600"/>
                <a:gd name="T17" fmla="*/ 15719271 h 21600"/>
                <a:gd name="T18" fmla="*/ 0 w 21600"/>
                <a:gd name="T19" fmla="*/ 12245628 h 21600"/>
                <a:gd name="T20" fmla="*/ 4326555 w 21600"/>
                <a:gd name="T21" fmla="*/ 12218595 h 21600"/>
                <a:gd name="T22" fmla="*/ 10369421 w 21600"/>
                <a:gd name="T23" fmla="*/ 11852332 h 21600"/>
                <a:gd name="T24" fmla="*/ 13628933 w 21600"/>
                <a:gd name="T25" fmla="*/ 9300242 h 21600"/>
                <a:gd name="T26" fmla="*/ 15910168 w 21600"/>
                <a:gd name="T27" fmla="*/ 6609781 h 21600"/>
                <a:gd name="T28" fmla="*/ 18990011 w 21600"/>
                <a:gd name="T29" fmla="*/ 5146373 h 21600"/>
                <a:gd name="T30" fmla="*/ 22191091 w 21600"/>
                <a:gd name="T31" fmla="*/ 4859443 h 21600"/>
                <a:gd name="T32" fmla="*/ 22219237 w 21600"/>
                <a:gd name="T33" fmla="*/ 1672689 h 21600"/>
                <a:gd name="T34" fmla="*/ 25242833 w 21600"/>
                <a:gd name="T35" fmla="*/ 0 h 21600"/>
                <a:gd name="T36" fmla="*/ 31108215 w 21600"/>
                <a:gd name="T37" fmla="*/ 366263 h 21600"/>
                <a:gd name="T38" fmla="*/ 33863423 w 21600"/>
                <a:gd name="T39" fmla="*/ 1880286 h 21600"/>
                <a:gd name="T40" fmla="*/ 38129405 w 21600"/>
                <a:gd name="T41" fmla="*/ 2717494 h 21600"/>
                <a:gd name="T42" fmla="*/ 41417017 w 21600"/>
                <a:gd name="T43" fmla="*/ 3996928 h 21600"/>
                <a:gd name="T44" fmla="*/ 46749995 w 21600"/>
                <a:gd name="T45" fmla="*/ 5956548 h 21600"/>
                <a:gd name="T46" fmla="*/ 46453460 w 21600"/>
                <a:gd name="T47" fmla="*/ 11317256 h 21600"/>
                <a:gd name="T48" fmla="*/ 45890769 w 21600"/>
                <a:gd name="T49" fmla="*/ 15418825 h 21600"/>
                <a:gd name="T50" fmla="*/ 45358318 w 21600"/>
                <a:gd name="T51" fmla="*/ 19677375 h 21600"/>
                <a:gd name="T52" fmla="*/ 46395028 w 21600"/>
                <a:gd name="T53" fmla="*/ 22945105 h 21600"/>
                <a:gd name="T54" fmla="*/ 43193948 w 21600"/>
                <a:gd name="T55" fmla="*/ 26994375 h 21600"/>
                <a:gd name="T56" fmla="*/ 42486199 w 21600"/>
                <a:gd name="T57" fmla="*/ 31116157 h 21600"/>
                <a:gd name="T58" fmla="*/ 39137968 w 21600"/>
                <a:gd name="T59" fmla="*/ 34132413 h 21600"/>
                <a:gd name="T60" fmla="*/ 35144748 w 21600"/>
                <a:gd name="T61" fmla="*/ 36458336 h 21600"/>
                <a:gd name="T62" fmla="*/ 30227357 w 21600"/>
                <a:gd name="T63" fmla="*/ 35955346 h 21600"/>
                <a:gd name="T64" fmla="*/ 26069633 w 21600"/>
                <a:gd name="T65" fmla="*/ 35327461 h 21600"/>
                <a:gd name="T66" fmla="*/ 22227890 w 21600"/>
                <a:gd name="T67" fmla="*/ 35624538 h 21600"/>
                <a:gd name="T68" fmla="*/ 22227890 w 21600"/>
                <a:gd name="T69" fmla="*/ 35624538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10270" y="21106"/>
                  </a:moveTo>
                  <a:lnTo>
                    <a:pt x="10119" y="19342"/>
                  </a:lnTo>
                  <a:lnTo>
                    <a:pt x="7053" y="18723"/>
                  </a:lnTo>
                  <a:lnTo>
                    <a:pt x="6642" y="17144"/>
                  </a:lnTo>
                  <a:lnTo>
                    <a:pt x="6697" y="15395"/>
                  </a:lnTo>
                  <a:lnTo>
                    <a:pt x="5465" y="14141"/>
                  </a:lnTo>
                  <a:lnTo>
                    <a:pt x="3261" y="12996"/>
                  </a:lnTo>
                  <a:lnTo>
                    <a:pt x="2040" y="11031"/>
                  </a:lnTo>
                  <a:lnTo>
                    <a:pt x="1068" y="9313"/>
                  </a:lnTo>
                  <a:lnTo>
                    <a:pt x="0" y="7255"/>
                  </a:lnTo>
                  <a:lnTo>
                    <a:pt x="1999" y="7239"/>
                  </a:lnTo>
                  <a:lnTo>
                    <a:pt x="4791" y="7022"/>
                  </a:lnTo>
                  <a:lnTo>
                    <a:pt x="6297" y="5510"/>
                  </a:lnTo>
                  <a:lnTo>
                    <a:pt x="7351" y="3916"/>
                  </a:lnTo>
                  <a:lnTo>
                    <a:pt x="8774" y="3049"/>
                  </a:lnTo>
                  <a:lnTo>
                    <a:pt x="10253" y="2879"/>
                  </a:lnTo>
                  <a:lnTo>
                    <a:pt x="10266" y="991"/>
                  </a:lnTo>
                  <a:lnTo>
                    <a:pt x="11663" y="0"/>
                  </a:lnTo>
                  <a:lnTo>
                    <a:pt x="14373" y="217"/>
                  </a:lnTo>
                  <a:lnTo>
                    <a:pt x="15646" y="1114"/>
                  </a:lnTo>
                  <a:lnTo>
                    <a:pt x="17617" y="1610"/>
                  </a:lnTo>
                  <a:lnTo>
                    <a:pt x="19136" y="2368"/>
                  </a:lnTo>
                  <a:lnTo>
                    <a:pt x="21600" y="3529"/>
                  </a:lnTo>
                  <a:lnTo>
                    <a:pt x="21463" y="6705"/>
                  </a:lnTo>
                  <a:lnTo>
                    <a:pt x="21203" y="9135"/>
                  </a:lnTo>
                  <a:lnTo>
                    <a:pt x="20957" y="11658"/>
                  </a:lnTo>
                  <a:lnTo>
                    <a:pt x="21436" y="13594"/>
                  </a:lnTo>
                  <a:lnTo>
                    <a:pt x="19957" y="15993"/>
                  </a:lnTo>
                  <a:lnTo>
                    <a:pt x="19630" y="18435"/>
                  </a:lnTo>
                  <a:lnTo>
                    <a:pt x="18083" y="20222"/>
                  </a:lnTo>
                  <a:lnTo>
                    <a:pt x="16238" y="21600"/>
                  </a:lnTo>
                  <a:lnTo>
                    <a:pt x="13966" y="21302"/>
                  </a:lnTo>
                  <a:lnTo>
                    <a:pt x="12045" y="20930"/>
                  </a:lnTo>
                  <a:lnTo>
                    <a:pt x="10270" y="21106"/>
                  </a:lnTo>
                  <a:close/>
                  <a:moveTo>
                    <a:pt x="10270" y="2110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5" name="Freeform 16">
              <a:extLst>
                <a:ext uri="{FF2B5EF4-FFF2-40B4-BE49-F238E27FC236}">
                  <a16:creationId xmlns:a16="http://schemas.microsoft.com/office/drawing/2014/main" id="{F4438622-3E13-4DA4-B950-5921362A0442}"/>
                </a:ext>
              </a:extLst>
            </p:cNvPr>
            <p:cNvSpPr>
              <a:spLocks/>
            </p:cNvSpPr>
            <p:nvPr/>
          </p:nvSpPr>
          <p:spPr bwMode="auto">
            <a:xfrm>
              <a:off x="1891398" y="104122"/>
              <a:ext cx="1710899" cy="162557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600" h="21600">
                  <a:moveTo>
                    <a:pt x="9577" y="18964"/>
                  </a:moveTo>
                  <a:lnTo>
                    <a:pt x="3746" y="14143"/>
                  </a:lnTo>
                  <a:lnTo>
                    <a:pt x="0" y="10934"/>
                  </a:lnTo>
                  <a:lnTo>
                    <a:pt x="287" y="10311"/>
                  </a:lnTo>
                  <a:lnTo>
                    <a:pt x="443" y="9338"/>
                  </a:lnTo>
                  <a:lnTo>
                    <a:pt x="1072" y="8864"/>
                  </a:lnTo>
                  <a:lnTo>
                    <a:pt x="1842" y="8341"/>
                  </a:lnTo>
                  <a:lnTo>
                    <a:pt x="2907" y="8089"/>
                  </a:lnTo>
                  <a:lnTo>
                    <a:pt x="3933" y="7934"/>
                  </a:lnTo>
                  <a:lnTo>
                    <a:pt x="4578" y="7304"/>
                  </a:lnTo>
                  <a:lnTo>
                    <a:pt x="5300" y="7059"/>
                  </a:lnTo>
                  <a:lnTo>
                    <a:pt x="6000" y="6830"/>
                  </a:lnTo>
                  <a:lnTo>
                    <a:pt x="6000" y="5980"/>
                  </a:lnTo>
                  <a:lnTo>
                    <a:pt x="6987" y="5686"/>
                  </a:lnTo>
                  <a:lnTo>
                    <a:pt x="8604" y="5583"/>
                  </a:lnTo>
                  <a:lnTo>
                    <a:pt x="8930" y="4938"/>
                  </a:lnTo>
                  <a:lnTo>
                    <a:pt x="8573" y="4455"/>
                  </a:lnTo>
                  <a:lnTo>
                    <a:pt x="8650" y="3605"/>
                  </a:lnTo>
                  <a:lnTo>
                    <a:pt x="8720" y="2701"/>
                  </a:lnTo>
                  <a:lnTo>
                    <a:pt x="8184" y="1973"/>
                  </a:lnTo>
                  <a:lnTo>
                    <a:pt x="8922" y="1704"/>
                  </a:lnTo>
                  <a:lnTo>
                    <a:pt x="9529" y="1377"/>
                  </a:lnTo>
                  <a:lnTo>
                    <a:pt x="10345" y="1148"/>
                  </a:lnTo>
                  <a:lnTo>
                    <a:pt x="11013" y="796"/>
                  </a:lnTo>
                  <a:lnTo>
                    <a:pt x="11720" y="559"/>
                  </a:lnTo>
                  <a:lnTo>
                    <a:pt x="12887" y="580"/>
                  </a:lnTo>
                  <a:lnTo>
                    <a:pt x="13859" y="409"/>
                  </a:lnTo>
                  <a:lnTo>
                    <a:pt x="14667" y="221"/>
                  </a:lnTo>
                  <a:lnTo>
                    <a:pt x="15615" y="368"/>
                  </a:lnTo>
                  <a:lnTo>
                    <a:pt x="16665" y="605"/>
                  </a:lnTo>
                  <a:lnTo>
                    <a:pt x="17255" y="0"/>
                  </a:lnTo>
                  <a:lnTo>
                    <a:pt x="18087" y="221"/>
                  </a:lnTo>
                  <a:lnTo>
                    <a:pt x="18678" y="466"/>
                  </a:lnTo>
                  <a:lnTo>
                    <a:pt x="19338" y="556"/>
                  </a:lnTo>
                  <a:lnTo>
                    <a:pt x="18856" y="1112"/>
                  </a:lnTo>
                  <a:lnTo>
                    <a:pt x="18740" y="2256"/>
                  </a:lnTo>
                  <a:lnTo>
                    <a:pt x="18569" y="3016"/>
                  </a:lnTo>
                  <a:lnTo>
                    <a:pt x="17854" y="3654"/>
                  </a:lnTo>
                  <a:lnTo>
                    <a:pt x="17877" y="4431"/>
                  </a:lnTo>
                  <a:lnTo>
                    <a:pt x="18479" y="4912"/>
                  </a:lnTo>
                  <a:lnTo>
                    <a:pt x="18792" y="5538"/>
                  </a:lnTo>
                  <a:lnTo>
                    <a:pt x="19398" y="6241"/>
                  </a:lnTo>
                  <a:lnTo>
                    <a:pt x="19447" y="6952"/>
                  </a:lnTo>
                  <a:lnTo>
                    <a:pt x="19447" y="8176"/>
                  </a:lnTo>
                  <a:lnTo>
                    <a:pt x="19564" y="9081"/>
                  </a:lnTo>
                  <a:lnTo>
                    <a:pt x="19801" y="10557"/>
                  </a:lnTo>
                  <a:lnTo>
                    <a:pt x="19540" y="11603"/>
                  </a:lnTo>
                  <a:lnTo>
                    <a:pt x="19478" y="12633"/>
                  </a:lnTo>
                  <a:lnTo>
                    <a:pt x="19020" y="13222"/>
                  </a:lnTo>
                  <a:lnTo>
                    <a:pt x="19486" y="13900"/>
                  </a:lnTo>
                  <a:lnTo>
                    <a:pt x="19626" y="14954"/>
                  </a:lnTo>
                  <a:lnTo>
                    <a:pt x="20372" y="15110"/>
                  </a:lnTo>
                  <a:lnTo>
                    <a:pt x="20978" y="15355"/>
                  </a:lnTo>
                  <a:lnTo>
                    <a:pt x="21600" y="16303"/>
                  </a:lnTo>
                  <a:lnTo>
                    <a:pt x="20450" y="17080"/>
                  </a:lnTo>
                  <a:lnTo>
                    <a:pt x="18569" y="18248"/>
                  </a:lnTo>
                  <a:lnTo>
                    <a:pt x="17504" y="18910"/>
                  </a:lnTo>
                  <a:lnTo>
                    <a:pt x="16595" y="19532"/>
                  </a:lnTo>
                  <a:lnTo>
                    <a:pt x="15615" y="20333"/>
                  </a:lnTo>
                  <a:lnTo>
                    <a:pt x="14807" y="21044"/>
                  </a:lnTo>
                  <a:lnTo>
                    <a:pt x="13750" y="21354"/>
                  </a:lnTo>
                  <a:lnTo>
                    <a:pt x="12759" y="21495"/>
                  </a:lnTo>
                  <a:lnTo>
                    <a:pt x="11659" y="21600"/>
                  </a:lnTo>
                  <a:lnTo>
                    <a:pt x="11659" y="20627"/>
                  </a:lnTo>
                  <a:lnTo>
                    <a:pt x="10851" y="20210"/>
                  </a:lnTo>
                  <a:lnTo>
                    <a:pt x="10128" y="19973"/>
                  </a:lnTo>
                  <a:lnTo>
                    <a:pt x="9577" y="18964"/>
                  </a:lnTo>
                  <a:close/>
                  <a:moveTo>
                    <a:pt x="9577" y="18964"/>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6" name="Freeform 17">
              <a:extLst>
                <a:ext uri="{FF2B5EF4-FFF2-40B4-BE49-F238E27FC236}">
                  <a16:creationId xmlns:a16="http://schemas.microsoft.com/office/drawing/2014/main" id="{73773D18-550C-44AB-BEA4-B3DAB8462ADA}"/>
                </a:ext>
              </a:extLst>
            </p:cNvPr>
            <p:cNvSpPr>
              <a:spLocks/>
            </p:cNvSpPr>
            <p:nvPr/>
          </p:nvSpPr>
          <p:spPr bwMode="auto">
            <a:xfrm>
              <a:off x="5500258" y="3048969"/>
              <a:ext cx="802941" cy="867483"/>
            </a:xfrm>
            <a:custGeom>
              <a:avLst/>
              <a:gdLst>
                <a:gd name="T0" fmla="*/ 33213282 w 21600"/>
                <a:gd name="T1" fmla="*/ 60982176 h 21600"/>
                <a:gd name="T2" fmla="*/ 20749205 w 21600"/>
                <a:gd name="T3" fmla="*/ 53091519 h 21600"/>
                <a:gd name="T4" fmla="*/ 10211633 w 21600"/>
                <a:gd name="T5" fmla="*/ 46467792 h 21600"/>
                <a:gd name="T6" fmla="*/ 0 w 21600"/>
                <a:gd name="T7" fmla="*/ 46029630 h 21600"/>
                <a:gd name="T8" fmla="*/ 7301537 w 21600"/>
                <a:gd name="T9" fmla="*/ 35275471 h 21600"/>
                <a:gd name="T10" fmla="*/ 10639421 w 21600"/>
                <a:gd name="T11" fmla="*/ 29803275 h 21600"/>
                <a:gd name="T12" fmla="*/ 14428399 w 21600"/>
                <a:gd name="T13" fmla="*/ 24405797 h 21600"/>
                <a:gd name="T14" fmla="*/ 13974446 w 21600"/>
                <a:gd name="T15" fmla="*/ 18322168 h 21600"/>
                <a:gd name="T16" fmla="*/ 10357124 w 21600"/>
                <a:gd name="T17" fmla="*/ 13739936 h 21600"/>
                <a:gd name="T18" fmla="*/ 10467712 w 21600"/>
                <a:gd name="T19" fmla="*/ 8576867 h 21600"/>
                <a:gd name="T20" fmla="*/ 6475037 w 21600"/>
                <a:gd name="T21" fmla="*/ 4371660 h 21600"/>
                <a:gd name="T22" fmla="*/ 9859530 w 21600"/>
                <a:gd name="T23" fmla="*/ 438163 h 21600"/>
                <a:gd name="T24" fmla="*/ 19759788 w 21600"/>
                <a:gd name="T25" fmla="*/ 0 h 21600"/>
                <a:gd name="T26" fmla="*/ 28382453 w 21600"/>
                <a:gd name="T27" fmla="*/ 2618893 h 21600"/>
                <a:gd name="T28" fmla="*/ 34645052 w 21600"/>
                <a:gd name="T29" fmla="*/ 7133227 h 21600"/>
                <a:gd name="T30" fmla="*/ 40587538 w 21600"/>
                <a:gd name="T31" fmla="*/ 8834997 h 21600"/>
                <a:gd name="T32" fmla="*/ 45787948 w 21600"/>
                <a:gd name="T33" fmla="*/ 8797639 h 21600"/>
                <a:gd name="T34" fmla="*/ 50161857 w 21600"/>
                <a:gd name="T35" fmla="*/ 4928717 h 21600"/>
                <a:gd name="T36" fmla="*/ 54637670 w 21600"/>
                <a:gd name="T37" fmla="*/ 3811164 h 21600"/>
                <a:gd name="T38" fmla="*/ 58831131 w 21600"/>
                <a:gd name="T39" fmla="*/ 5003435 h 21600"/>
                <a:gd name="T40" fmla="*/ 62858764 w 21600"/>
                <a:gd name="T41" fmla="*/ 4592431 h 21600"/>
                <a:gd name="T42" fmla="*/ 61825652 w 21600"/>
                <a:gd name="T43" fmla="*/ 9059207 h 21600"/>
                <a:gd name="T44" fmla="*/ 57451742 w 21600"/>
                <a:gd name="T45" fmla="*/ 14381910 h 21600"/>
                <a:gd name="T46" fmla="*/ 57143281 w 21600"/>
                <a:gd name="T47" fmla="*/ 22493397 h 21600"/>
                <a:gd name="T48" fmla="*/ 57245131 w 21600"/>
                <a:gd name="T49" fmla="*/ 37761889 h 21600"/>
                <a:gd name="T50" fmla="*/ 57416839 w 21600"/>
                <a:gd name="T51" fmla="*/ 43937196 h 21600"/>
                <a:gd name="T52" fmla="*/ 61482288 w 21600"/>
                <a:gd name="T53" fmla="*/ 49817014 h 21600"/>
                <a:gd name="T54" fmla="*/ 58726369 w 21600"/>
                <a:gd name="T55" fmla="*/ 53984863 h 21600"/>
                <a:gd name="T56" fmla="*/ 55662043 w 21600"/>
                <a:gd name="T57" fmla="*/ 57191411 h 21600"/>
                <a:gd name="T58" fmla="*/ 51907969 w 21600"/>
                <a:gd name="T59" fmla="*/ 57266129 h 21600"/>
                <a:gd name="T60" fmla="*/ 50738104 w 21600"/>
                <a:gd name="T61" fmla="*/ 62959095 h 21600"/>
                <a:gd name="T62" fmla="*/ 48535128 w 21600"/>
                <a:gd name="T63" fmla="*/ 67575306 h 21600"/>
                <a:gd name="T64" fmla="*/ 44676291 w 21600"/>
                <a:gd name="T65" fmla="*/ 73370207 h 21600"/>
                <a:gd name="T66" fmla="*/ 40028823 w 21600"/>
                <a:gd name="T67" fmla="*/ 69946268 h 21600"/>
                <a:gd name="T68" fmla="*/ 34313341 w 21600"/>
                <a:gd name="T69" fmla="*/ 66152064 h 21600"/>
                <a:gd name="T70" fmla="*/ 33213282 w 21600"/>
                <a:gd name="T71" fmla="*/ 60982176 h 21600"/>
                <a:gd name="T72" fmla="*/ 33213282 w 21600"/>
                <a:gd name="T73" fmla="*/ 60982176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00" h="21600">
                  <a:moveTo>
                    <a:pt x="11413" y="17953"/>
                  </a:moveTo>
                  <a:lnTo>
                    <a:pt x="7130" y="15630"/>
                  </a:lnTo>
                  <a:lnTo>
                    <a:pt x="3509" y="13680"/>
                  </a:lnTo>
                  <a:lnTo>
                    <a:pt x="0" y="13551"/>
                  </a:lnTo>
                  <a:lnTo>
                    <a:pt x="2509" y="10385"/>
                  </a:lnTo>
                  <a:lnTo>
                    <a:pt x="3656" y="8774"/>
                  </a:lnTo>
                  <a:lnTo>
                    <a:pt x="4958" y="7185"/>
                  </a:lnTo>
                  <a:lnTo>
                    <a:pt x="4802" y="5394"/>
                  </a:lnTo>
                  <a:lnTo>
                    <a:pt x="3559" y="4045"/>
                  </a:lnTo>
                  <a:lnTo>
                    <a:pt x="3597" y="2525"/>
                  </a:lnTo>
                  <a:lnTo>
                    <a:pt x="2225" y="1287"/>
                  </a:lnTo>
                  <a:lnTo>
                    <a:pt x="3388" y="129"/>
                  </a:lnTo>
                  <a:lnTo>
                    <a:pt x="6790" y="0"/>
                  </a:lnTo>
                  <a:lnTo>
                    <a:pt x="9753" y="771"/>
                  </a:lnTo>
                  <a:lnTo>
                    <a:pt x="11905" y="2100"/>
                  </a:lnTo>
                  <a:lnTo>
                    <a:pt x="13947" y="2601"/>
                  </a:lnTo>
                  <a:lnTo>
                    <a:pt x="15734" y="2590"/>
                  </a:lnTo>
                  <a:lnTo>
                    <a:pt x="17237" y="1451"/>
                  </a:lnTo>
                  <a:lnTo>
                    <a:pt x="18775" y="1122"/>
                  </a:lnTo>
                  <a:lnTo>
                    <a:pt x="20216" y="1473"/>
                  </a:lnTo>
                  <a:lnTo>
                    <a:pt x="21600" y="1352"/>
                  </a:lnTo>
                  <a:lnTo>
                    <a:pt x="21245" y="2667"/>
                  </a:lnTo>
                  <a:lnTo>
                    <a:pt x="19742" y="4234"/>
                  </a:lnTo>
                  <a:lnTo>
                    <a:pt x="19636" y="6622"/>
                  </a:lnTo>
                  <a:lnTo>
                    <a:pt x="19671" y="11117"/>
                  </a:lnTo>
                  <a:lnTo>
                    <a:pt x="19730" y="12935"/>
                  </a:lnTo>
                  <a:lnTo>
                    <a:pt x="21127" y="14666"/>
                  </a:lnTo>
                  <a:lnTo>
                    <a:pt x="20180" y="15893"/>
                  </a:lnTo>
                  <a:lnTo>
                    <a:pt x="19127" y="16837"/>
                  </a:lnTo>
                  <a:lnTo>
                    <a:pt x="17837" y="16859"/>
                  </a:lnTo>
                  <a:lnTo>
                    <a:pt x="17435" y="18535"/>
                  </a:lnTo>
                  <a:lnTo>
                    <a:pt x="16678" y="19894"/>
                  </a:lnTo>
                  <a:lnTo>
                    <a:pt x="15352" y="21600"/>
                  </a:lnTo>
                  <a:lnTo>
                    <a:pt x="13755" y="20592"/>
                  </a:lnTo>
                  <a:lnTo>
                    <a:pt x="11791" y="19475"/>
                  </a:lnTo>
                  <a:lnTo>
                    <a:pt x="11413" y="17953"/>
                  </a:lnTo>
                  <a:close/>
                  <a:moveTo>
                    <a:pt x="11413" y="17953"/>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7" name="Freeform 18">
              <a:extLst>
                <a:ext uri="{FF2B5EF4-FFF2-40B4-BE49-F238E27FC236}">
                  <a16:creationId xmlns:a16="http://schemas.microsoft.com/office/drawing/2014/main" id="{9216C560-60B0-4897-8AF5-C2FEF983229B}"/>
                </a:ext>
              </a:extLst>
            </p:cNvPr>
            <p:cNvSpPr>
              <a:spLocks/>
            </p:cNvSpPr>
            <p:nvPr/>
          </p:nvSpPr>
          <p:spPr bwMode="auto">
            <a:xfrm>
              <a:off x="3265368" y="3264472"/>
              <a:ext cx="526178" cy="57868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0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600" h="21600">
                  <a:moveTo>
                    <a:pt x="8768" y="21573"/>
                  </a:moveTo>
                  <a:lnTo>
                    <a:pt x="6954" y="19512"/>
                  </a:lnTo>
                  <a:lnTo>
                    <a:pt x="4796" y="17550"/>
                  </a:lnTo>
                  <a:lnTo>
                    <a:pt x="3182" y="16000"/>
                  </a:lnTo>
                  <a:lnTo>
                    <a:pt x="1876" y="14417"/>
                  </a:lnTo>
                  <a:lnTo>
                    <a:pt x="588" y="12702"/>
                  </a:lnTo>
                  <a:lnTo>
                    <a:pt x="0" y="10447"/>
                  </a:lnTo>
                  <a:lnTo>
                    <a:pt x="1904" y="9540"/>
                  </a:lnTo>
                  <a:lnTo>
                    <a:pt x="2013" y="7297"/>
                  </a:lnTo>
                  <a:lnTo>
                    <a:pt x="3518" y="4890"/>
                  </a:lnTo>
                  <a:lnTo>
                    <a:pt x="9466" y="4849"/>
                  </a:lnTo>
                  <a:lnTo>
                    <a:pt x="9677" y="64"/>
                  </a:lnTo>
                  <a:lnTo>
                    <a:pt x="12623" y="265"/>
                  </a:lnTo>
                  <a:lnTo>
                    <a:pt x="16490" y="0"/>
                  </a:lnTo>
                  <a:lnTo>
                    <a:pt x="16962" y="3312"/>
                  </a:lnTo>
                  <a:lnTo>
                    <a:pt x="18626" y="3448"/>
                  </a:lnTo>
                  <a:lnTo>
                    <a:pt x="20947" y="3646"/>
                  </a:lnTo>
                  <a:lnTo>
                    <a:pt x="21582" y="5839"/>
                  </a:lnTo>
                  <a:lnTo>
                    <a:pt x="19387" y="6878"/>
                  </a:lnTo>
                  <a:lnTo>
                    <a:pt x="19714" y="9334"/>
                  </a:lnTo>
                  <a:lnTo>
                    <a:pt x="21600" y="10835"/>
                  </a:lnTo>
                  <a:lnTo>
                    <a:pt x="21455" y="14555"/>
                  </a:lnTo>
                  <a:lnTo>
                    <a:pt x="20095" y="16748"/>
                  </a:lnTo>
                  <a:lnTo>
                    <a:pt x="18553" y="15676"/>
                  </a:lnTo>
                  <a:lnTo>
                    <a:pt x="16286" y="16253"/>
                  </a:lnTo>
                  <a:lnTo>
                    <a:pt x="14809" y="14696"/>
                  </a:lnTo>
                  <a:lnTo>
                    <a:pt x="13561" y="16323"/>
                  </a:lnTo>
                  <a:lnTo>
                    <a:pt x="10610" y="16220"/>
                  </a:lnTo>
                  <a:lnTo>
                    <a:pt x="11244" y="18133"/>
                  </a:lnTo>
                  <a:lnTo>
                    <a:pt x="12314" y="21600"/>
                  </a:lnTo>
                  <a:lnTo>
                    <a:pt x="8768" y="21573"/>
                  </a:lnTo>
                  <a:close/>
                  <a:moveTo>
                    <a:pt x="8768" y="21573"/>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8" name="Freeform 19">
              <a:extLst>
                <a:ext uri="{FF2B5EF4-FFF2-40B4-BE49-F238E27FC236}">
                  <a16:creationId xmlns:a16="http://schemas.microsoft.com/office/drawing/2014/main" id="{8C7530A1-0D43-43E0-A4E8-72F16BF8A915}"/>
                </a:ext>
              </a:extLst>
            </p:cNvPr>
            <p:cNvSpPr>
              <a:spLocks/>
            </p:cNvSpPr>
            <p:nvPr/>
          </p:nvSpPr>
          <p:spPr bwMode="auto">
            <a:xfrm>
              <a:off x="4010331" y="5521240"/>
              <a:ext cx="1371783" cy="11168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0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w 21600"/>
                <a:gd name="T65" fmla="*/ 2147483646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600" h="21600">
                  <a:moveTo>
                    <a:pt x="0" y="11119"/>
                  </a:moveTo>
                  <a:lnTo>
                    <a:pt x="312" y="10102"/>
                  </a:lnTo>
                  <a:lnTo>
                    <a:pt x="1054" y="10076"/>
                  </a:lnTo>
                  <a:lnTo>
                    <a:pt x="1238" y="10952"/>
                  </a:lnTo>
                  <a:lnTo>
                    <a:pt x="1925" y="11436"/>
                  </a:lnTo>
                  <a:lnTo>
                    <a:pt x="3395" y="11278"/>
                  </a:lnTo>
                  <a:lnTo>
                    <a:pt x="4491" y="10300"/>
                  </a:lnTo>
                  <a:lnTo>
                    <a:pt x="4507" y="7589"/>
                  </a:lnTo>
                  <a:lnTo>
                    <a:pt x="4592" y="4115"/>
                  </a:lnTo>
                  <a:lnTo>
                    <a:pt x="5295" y="5046"/>
                  </a:lnTo>
                  <a:lnTo>
                    <a:pt x="5708" y="5874"/>
                  </a:lnTo>
                  <a:lnTo>
                    <a:pt x="5685" y="7021"/>
                  </a:lnTo>
                  <a:lnTo>
                    <a:pt x="5895" y="7911"/>
                  </a:lnTo>
                  <a:lnTo>
                    <a:pt x="7133" y="7968"/>
                  </a:lnTo>
                  <a:lnTo>
                    <a:pt x="7601" y="6978"/>
                  </a:lnTo>
                  <a:lnTo>
                    <a:pt x="8185" y="6275"/>
                  </a:lnTo>
                  <a:lnTo>
                    <a:pt x="8687" y="5113"/>
                  </a:lnTo>
                  <a:lnTo>
                    <a:pt x="9459" y="5400"/>
                  </a:lnTo>
                  <a:lnTo>
                    <a:pt x="10615" y="6003"/>
                  </a:lnTo>
                  <a:lnTo>
                    <a:pt x="12152" y="5888"/>
                  </a:lnTo>
                  <a:lnTo>
                    <a:pt x="12514" y="4568"/>
                  </a:lnTo>
                  <a:lnTo>
                    <a:pt x="13519" y="3908"/>
                  </a:lnTo>
                  <a:lnTo>
                    <a:pt x="14127" y="2158"/>
                  </a:lnTo>
                  <a:lnTo>
                    <a:pt x="15097" y="1641"/>
                  </a:lnTo>
                  <a:lnTo>
                    <a:pt x="15611" y="709"/>
                  </a:lnTo>
                  <a:lnTo>
                    <a:pt x="16475" y="436"/>
                  </a:lnTo>
                  <a:lnTo>
                    <a:pt x="17165" y="63"/>
                  </a:lnTo>
                  <a:lnTo>
                    <a:pt x="18651" y="0"/>
                  </a:lnTo>
                  <a:lnTo>
                    <a:pt x="20460" y="224"/>
                  </a:lnTo>
                  <a:lnTo>
                    <a:pt x="20245" y="1455"/>
                  </a:lnTo>
                  <a:lnTo>
                    <a:pt x="20390" y="2800"/>
                  </a:lnTo>
                  <a:lnTo>
                    <a:pt x="20829" y="3621"/>
                  </a:lnTo>
                  <a:lnTo>
                    <a:pt x="20905" y="5205"/>
                  </a:lnTo>
                  <a:lnTo>
                    <a:pt x="20988" y="6815"/>
                  </a:lnTo>
                  <a:lnTo>
                    <a:pt x="20864" y="8356"/>
                  </a:lnTo>
                  <a:lnTo>
                    <a:pt x="21600" y="8585"/>
                  </a:lnTo>
                  <a:lnTo>
                    <a:pt x="21226" y="9590"/>
                  </a:lnTo>
                  <a:lnTo>
                    <a:pt x="20981" y="11196"/>
                  </a:lnTo>
                  <a:lnTo>
                    <a:pt x="19625" y="12398"/>
                  </a:lnTo>
                  <a:lnTo>
                    <a:pt x="18773" y="13933"/>
                  </a:lnTo>
                  <a:lnTo>
                    <a:pt x="18048" y="15095"/>
                  </a:lnTo>
                  <a:lnTo>
                    <a:pt x="17148" y="16243"/>
                  </a:lnTo>
                  <a:lnTo>
                    <a:pt x="16249" y="17219"/>
                  </a:lnTo>
                  <a:lnTo>
                    <a:pt x="15022" y="18329"/>
                  </a:lnTo>
                  <a:lnTo>
                    <a:pt x="14052" y="19089"/>
                  </a:lnTo>
                  <a:lnTo>
                    <a:pt x="12954" y="19878"/>
                  </a:lnTo>
                  <a:lnTo>
                    <a:pt x="11926" y="20036"/>
                  </a:lnTo>
                  <a:lnTo>
                    <a:pt x="10839" y="20323"/>
                  </a:lnTo>
                  <a:lnTo>
                    <a:pt x="9542" y="20294"/>
                  </a:lnTo>
                  <a:lnTo>
                    <a:pt x="8010" y="20323"/>
                  </a:lnTo>
                  <a:lnTo>
                    <a:pt x="7274" y="20495"/>
                  </a:lnTo>
                  <a:lnTo>
                    <a:pt x="6363" y="20926"/>
                  </a:lnTo>
                  <a:lnTo>
                    <a:pt x="5323" y="21098"/>
                  </a:lnTo>
                  <a:lnTo>
                    <a:pt x="4458" y="21600"/>
                  </a:lnTo>
                  <a:lnTo>
                    <a:pt x="3757" y="21198"/>
                  </a:lnTo>
                  <a:lnTo>
                    <a:pt x="3197" y="20352"/>
                  </a:lnTo>
                  <a:lnTo>
                    <a:pt x="2566" y="21155"/>
                  </a:lnTo>
                  <a:lnTo>
                    <a:pt x="2601" y="19964"/>
                  </a:lnTo>
                  <a:lnTo>
                    <a:pt x="2122" y="18845"/>
                  </a:lnTo>
                  <a:lnTo>
                    <a:pt x="1736" y="18013"/>
                  </a:lnTo>
                  <a:lnTo>
                    <a:pt x="2390" y="17439"/>
                  </a:lnTo>
                  <a:lnTo>
                    <a:pt x="1762" y="15775"/>
                  </a:lnTo>
                  <a:lnTo>
                    <a:pt x="1072" y="14197"/>
                  </a:lnTo>
                  <a:lnTo>
                    <a:pt x="593" y="12590"/>
                  </a:lnTo>
                  <a:lnTo>
                    <a:pt x="0" y="11119"/>
                  </a:lnTo>
                  <a:close/>
                  <a:moveTo>
                    <a:pt x="0" y="11119"/>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9" name="Freeform 20">
              <a:extLst>
                <a:ext uri="{FF2B5EF4-FFF2-40B4-BE49-F238E27FC236}">
                  <a16:creationId xmlns:a16="http://schemas.microsoft.com/office/drawing/2014/main" id="{C4BDF225-07D3-4135-8F36-B3CD51A29849}"/>
                </a:ext>
              </a:extLst>
            </p:cNvPr>
            <p:cNvSpPr>
              <a:spLocks/>
            </p:cNvSpPr>
            <p:nvPr/>
          </p:nvSpPr>
          <p:spPr bwMode="auto">
            <a:xfrm>
              <a:off x="1079705" y="938786"/>
              <a:ext cx="1091738" cy="1146434"/>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0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0 w 21600"/>
                <a:gd name="T87" fmla="*/ 2147483646 h 21600"/>
                <a:gd name="T88" fmla="*/ 0 w 21600"/>
                <a:gd name="T89" fmla="*/ 2147483646 h 216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600" h="21600">
                  <a:moveTo>
                    <a:pt x="0" y="18821"/>
                  </a:moveTo>
                  <a:lnTo>
                    <a:pt x="651" y="17190"/>
                  </a:lnTo>
                  <a:lnTo>
                    <a:pt x="1326" y="15535"/>
                  </a:lnTo>
                  <a:lnTo>
                    <a:pt x="1205" y="13811"/>
                  </a:lnTo>
                  <a:lnTo>
                    <a:pt x="1085" y="12295"/>
                  </a:lnTo>
                  <a:lnTo>
                    <a:pt x="1326" y="11215"/>
                  </a:lnTo>
                  <a:lnTo>
                    <a:pt x="506" y="10112"/>
                  </a:lnTo>
                  <a:lnTo>
                    <a:pt x="940" y="9353"/>
                  </a:lnTo>
                  <a:lnTo>
                    <a:pt x="2097" y="9353"/>
                  </a:lnTo>
                  <a:lnTo>
                    <a:pt x="3592" y="9422"/>
                  </a:lnTo>
                  <a:lnTo>
                    <a:pt x="4918" y="9583"/>
                  </a:lnTo>
                  <a:lnTo>
                    <a:pt x="7232" y="9744"/>
                  </a:lnTo>
                  <a:lnTo>
                    <a:pt x="7116" y="7655"/>
                  </a:lnTo>
                  <a:lnTo>
                    <a:pt x="8268" y="6527"/>
                  </a:lnTo>
                  <a:lnTo>
                    <a:pt x="9714" y="6083"/>
                  </a:lnTo>
                  <a:lnTo>
                    <a:pt x="10052" y="3976"/>
                  </a:lnTo>
                  <a:lnTo>
                    <a:pt x="10486" y="1770"/>
                  </a:lnTo>
                  <a:lnTo>
                    <a:pt x="11981" y="1838"/>
                  </a:lnTo>
                  <a:lnTo>
                    <a:pt x="13355" y="1861"/>
                  </a:lnTo>
                  <a:lnTo>
                    <a:pt x="15741" y="1838"/>
                  </a:lnTo>
                  <a:lnTo>
                    <a:pt x="16344" y="0"/>
                  </a:lnTo>
                  <a:lnTo>
                    <a:pt x="17915" y="1188"/>
                  </a:lnTo>
                  <a:lnTo>
                    <a:pt x="18919" y="2020"/>
                  </a:lnTo>
                  <a:lnTo>
                    <a:pt x="21600" y="4018"/>
                  </a:lnTo>
                  <a:lnTo>
                    <a:pt x="18928" y="4027"/>
                  </a:lnTo>
                  <a:lnTo>
                    <a:pt x="18884" y="5841"/>
                  </a:lnTo>
                  <a:lnTo>
                    <a:pt x="18740" y="10155"/>
                  </a:lnTo>
                  <a:lnTo>
                    <a:pt x="18700" y="13009"/>
                  </a:lnTo>
                  <a:lnTo>
                    <a:pt x="18696" y="16893"/>
                  </a:lnTo>
                  <a:lnTo>
                    <a:pt x="18682" y="18580"/>
                  </a:lnTo>
                  <a:lnTo>
                    <a:pt x="19190" y="19495"/>
                  </a:lnTo>
                  <a:lnTo>
                    <a:pt x="18573" y="20528"/>
                  </a:lnTo>
                  <a:lnTo>
                    <a:pt x="10988" y="20515"/>
                  </a:lnTo>
                  <a:lnTo>
                    <a:pt x="9603" y="20554"/>
                  </a:lnTo>
                  <a:lnTo>
                    <a:pt x="8053" y="19979"/>
                  </a:lnTo>
                  <a:lnTo>
                    <a:pt x="8094" y="21198"/>
                  </a:lnTo>
                  <a:lnTo>
                    <a:pt x="7025" y="21600"/>
                  </a:lnTo>
                  <a:lnTo>
                    <a:pt x="6353" y="20685"/>
                  </a:lnTo>
                  <a:lnTo>
                    <a:pt x="5489" y="20031"/>
                  </a:lnTo>
                  <a:lnTo>
                    <a:pt x="5284" y="19060"/>
                  </a:lnTo>
                  <a:lnTo>
                    <a:pt x="4367" y="18215"/>
                  </a:lnTo>
                  <a:lnTo>
                    <a:pt x="2838" y="18040"/>
                  </a:lnTo>
                  <a:lnTo>
                    <a:pt x="972" y="18069"/>
                  </a:lnTo>
                  <a:lnTo>
                    <a:pt x="0" y="18821"/>
                  </a:lnTo>
                  <a:close/>
                  <a:moveTo>
                    <a:pt x="0" y="18821"/>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40" name="Freeform 21">
              <a:extLst>
                <a:ext uri="{FF2B5EF4-FFF2-40B4-BE49-F238E27FC236}">
                  <a16:creationId xmlns:a16="http://schemas.microsoft.com/office/drawing/2014/main" id="{16CEC414-9213-47E7-B553-EC06DE8A831E}"/>
                </a:ext>
              </a:extLst>
            </p:cNvPr>
            <p:cNvSpPr>
              <a:spLocks/>
            </p:cNvSpPr>
            <p:nvPr/>
          </p:nvSpPr>
          <p:spPr bwMode="auto">
            <a:xfrm>
              <a:off x="4689659" y="602952"/>
              <a:ext cx="960467" cy="88936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0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600" h="21600">
                  <a:moveTo>
                    <a:pt x="1140" y="21437"/>
                  </a:moveTo>
                  <a:lnTo>
                    <a:pt x="946" y="15198"/>
                  </a:lnTo>
                  <a:lnTo>
                    <a:pt x="886" y="10664"/>
                  </a:lnTo>
                  <a:lnTo>
                    <a:pt x="648" y="7014"/>
                  </a:lnTo>
                  <a:lnTo>
                    <a:pt x="655" y="5178"/>
                  </a:lnTo>
                  <a:lnTo>
                    <a:pt x="0" y="3926"/>
                  </a:lnTo>
                  <a:lnTo>
                    <a:pt x="391" y="2640"/>
                  </a:lnTo>
                  <a:lnTo>
                    <a:pt x="328" y="1286"/>
                  </a:lnTo>
                  <a:lnTo>
                    <a:pt x="417" y="0"/>
                  </a:lnTo>
                  <a:lnTo>
                    <a:pt x="1340" y="627"/>
                  </a:lnTo>
                  <a:lnTo>
                    <a:pt x="2650" y="338"/>
                  </a:lnTo>
                  <a:lnTo>
                    <a:pt x="4139" y="772"/>
                  </a:lnTo>
                  <a:lnTo>
                    <a:pt x="5672" y="1335"/>
                  </a:lnTo>
                  <a:lnTo>
                    <a:pt x="6937" y="1415"/>
                  </a:lnTo>
                  <a:lnTo>
                    <a:pt x="8262" y="1817"/>
                  </a:lnTo>
                  <a:lnTo>
                    <a:pt x="9513" y="852"/>
                  </a:lnTo>
                  <a:lnTo>
                    <a:pt x="11131" y="225"/>
                  </a:lnTo>
                  <a:lnTo>
                    <a:pt x="12262" y="48"/>
                  </a:lnTo>
                  <a:lnTo>
                    <a:pt x="13394" y="177"/>
                  </a:lnTo>
                  <a:lnTo>
                    <a:pt x="14510" y="1013"/>
                  </a:lnTo>
                  <a:lnTo>
                    <a:pt x="15910" y="756"/>
                  </a:lnTo>
                  <a:lnTo>
                    <a:pt x="16996" y="563"/>
                  </a:lnTo>
                  <a:lnTo>
                    <a:pt x="18024" y="1528"/>
                  </a:lnTo>
                  <a:lnTo>
                    <a:pt x="18887" y="4052"/>
                  </a:lnTo>
                  <a:lnTo>
                    <a:pt x="18649" y="5837"/>
                  </a:lnTo>
                  <a:lnTo>
                    <a:pt x="18262" y="8394"/>
                  </a:lnTo>
                  <a:lnTo>
                    <a:pt x="16996" y="7397"/>
                  </a:lnTo>
                  <a:lnTo>
                    <a:pt x="16014" y="5740"/>
                  </a:lnTo>
                  <a:lnTo>
                    <a:pt x="15329" y="4808"/>
                  </a:lnTo>
                  <a:lnTo>
                    <a:pt x="14674" y="3168"/>
                  </a:lnTo>
                  <a:lnTo>
                    <a:pt x="14346" y="4390"/>
                  </a:lnTo>
                  <a:lnTo>
                    <a:pt x="15016" y="5917"/>
                  </a:lnTo>
                  <a:lnTo>
                    <a:pt x="15776" y="6946"/>
                  </a:lnTo>
                  <a:lnTo>
                    <a:pt x="16728" y="8699"/>
                  </a:lnTo>
                  <a:lnTo>
                    <a:pt x="17741" y="10018"/>
                  </a:lnTo>
                  <a:lnTo>
                    <a:pt x="18589" y="11867"/>
                  </a:lnTo>
                  <a:lnTo>
                    <a:pt x="19650" y="13544"/>
                  </a:lnTo>
                  <a:lnTo>
                    <a:pt x="20275" y="14798"/>
                  </a:lnTo>
                  <a:lnTo>
                    <a:pt x="21540" y="16229"/>
                  </a:lnTo>
                  <a:lnTo>
                    <a:pt x="21362" y="17660"/>
                  </a:lnTo>
                  <a:lnTo>
                    <a:pt x="21600" y="19027"/>
                  </a:lnTo>
                  <a:lnTo>
                    <a:pt x="20409" y="19349"/>
                  </a:lnTo>
                  <a:lnTo>
                    <a:pt x="19962" y="20346"/>
                  </a:lnTo>
                  <a:lnTo>
                    <a:pt x="18980" y="20507"/>
                  </a:lnTo>
                  <a:lnTo>
                    <a:pt x="18102" y="21600"/>
                  </a:lnTo>
                  <a:lnTo>
                    <a:pt x="17030" y="21262"/>
                  </a:lnTo>
                  <a:lnTo>
                    <a:pt x="7114" y="21246"/>
                  </a:lnTo>
                  <a:lnTo>
                    <a:pt x="1140" y="21437"/>
                  </a:lnTo>
                  <a:close/>
                  <a:moveTo>
                    <a:pt x="1140" y="21437"/>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41" name="Freeform 22">
              <a:extLst>
                <a:ext uri="{FF2B5EF4-FFF2-40B4-BE49-F238E27FC236}">
                  <a16:creationId xmlns:a16="http://schemas.microsoft.com/office/drawing/2014/main" id="{E0888AD9-13BC-4470-81E4-7A73A2A4809D}"/>
                </a:ext>
              </a:extLst>
            </p:cNvPr>
            <p:cNvSpPr>
              <a:spLocks/>
            </p:cNvSpPr>
            <p:nvPr/>
          </p:nvSpPr>
          <p:spPr bwMode="auto">
            <a:xfrm>
              <a:off x="4476343" y="4252286"/>
              <a:ext cx="1067671" cy="882798"/>
            </a:xfrm>
            <a:custGeom>
              <a:avLst/>
              <a:gdLst>
                <a:gd name="T0" fmla="*/ 272723 w 21600"/>
                <a:gd name="T1" fmla="*/ 63478032 h 21600"/>
                <a:gd name="T2" fmla="*/ 550539 w 21600"/>
                <a:gd name="T3" fmla="*/ 51211622 h 21600"/>
                <a:gd name="T4" fmla="*/ 0 w 21600"/>
                <a:gd name="T5" fmla="*/ 35423874 h 21600"/>
                <a:gd name="T6" fmla="*/ 11108911 w 21600"/>
                <a:gd name="T7" fmla="*/ 35919889 h 21600"/>
                <a:gd name="T8" fmla="*/ 18703553 w 21600"/>
                <a:gd name="T9" fmla="*/ 35269073 h 21600"/>
                <a:gd name="T10" fmla="*/ 19259257 w 21600"/>
                <a:gd name="T11" fmla="*/ 29338177 h 21600"/>
                <a:gd name="T12" fmla="*/ 19922989 w 21600"/>
                <a:gd name="T13" fmla="*/ 20297500 h 21600"/>
                <a:gd name="T14" fmla="*/ 24558994 w 21600"/>
                <a:gd name="T15" fmla="*/ 24413309 h 21600"/>
                <a:gd name="T16" fmla="*/ 32328590 w 21600"/>
                <a:gd name="T17" fmla="*/ 22204103 h 21600"/>
                <a:gd name="T18" fmla="*/ 32663002 w 21600"/>
                <a:gd name="T19" fmla="*/ 26939057 h 21600"/>
                <a:gd name="T20" fmla="*/ 37957646 w 21600"/>
                <a:gd name="T21" fmla="*/ 26559112 h 21600"/>
                <a:gd name="T22" fmla="*/ 43339731 w 21600"/>
                <a:gd name="T23" fmla="*/ 27466685 h 21600"/>
                <a:gd name="T24" fmla="*/ 48907098 w 21600"/>
                <a:gd name="T25" fmla="*/ 25742997 h 21600"/>
                <a:gd name="T26" fmla="*/ 52570640 w 21600"/>
                <a:gd name="T27" fmla="*/ 30154292 h 21600"/>
                <a:gd name="T28" fmla="*/ 57386692 w 21600"/>
                <a:gd name="T29" fmla="*/ 31874482 h 21600"/>
                <a:gd name="T30" fmla="*/ 64317602 w 21600"/>
                <a:gd name="T31" fmla="*/ 35082659 h 21600"/>
                <a:gd name="T32" fmla="*/ 67343093 w 21600"/>
                <a:gd name="T33" fmla="*/ 39912570 h 21600"/>
                <a:gd name="T34" fmla="*/ 74330528 w 21600"/>
                <a:gd name="T35" fmla="*/ 40637229 h 21600"/>
                <a:gd name="T36" fmla="*/ 74423134 w 21600"/>
                <a:gd name="T37" fmla="*/ 31494537 h 21600"/>
                <a:gd name="T38" fmla="*/ 68716894 w 21600"/>
                <a:gd name="T39" fmla="*/ 33151383 h 21600"/>
                <a:gd name="T40" fmla="*/ 60057183 w 21600"/>
                <a:gd name="T41" fmla="*/ 26108825 h 21600"/>
                <a:gd name="T42" fmla="*/ 62259411 w 21600"/>
                <a:gd name="T43" fmla="*/ 20315115 h 21600"/>
                <a:gd name="T44" fmla="*/ 64749785 w 21600"/>
                <a:gd name="T45" fmla="*/ 13279556 h 21600"/>
                <a:gd name="T46" fmla="*/ 61430984 w 21600"/>
                <a:gd name="T47" fmla="*/ 7707431 h 21600"/>
                <a:gd name="T48" fmla="*/ 67322506 w 21600"/>
                <a:gd name="T49" fmla="*/ 1231232 h 21600"/>
                <a:gd name="T50" fmla="*/ 74078392 w 21600"/>
                <a:gd name="T51" fmla="*/ 211087 h 21600"/>
                <a:gd name="T52" fmla="*/ 83751741 w 21600"/>
                <a:gd name="T53" fmla="*/ 0 h 21600"/>
                <a:gd name="T54" fmla="*/ 89879977 w 21600"/>
                <a:gd name="T55" fmla="*/ 2824793 h 21600"/>
                <a:gd name="T56" fmla="*/ 96342553 w 21600"/>
                <a:gd name="T57" fmla="*/ 4302223 h 21600"/>
                <a:gd name="T58" fmla="*/ 101945929 w 21600"/>
                <a:gd name="T59" fmla="*/ 7767216 h 21600"/>
                <a:gd name="T60" fmla="*/ 108012332 w 21600"/>
                <a:gd name="T61" fmla="*/ 9603477 h 21600"/>
                <a:gd name="T62" fmla="*/ 108681228 w 21600"/>
                <a:gd name="T63" fmla="*/ 14243415 h 21600"/>
                <a:gd name="T64" fmla="*/ 111140757 w 21600"/>
                <a:gd name="T65" fmla="*/ 18426068 h 21600"/>
                <a:gd name="T66" fmla="*/ 108362238 w 21600"/>
                <a:gd name="T67" fmla="*/ 23474064 h 21600"/>
                <a:gd name="T68" fmla="*/ 107405197 w 21600"/>
                <a:gd name="T69" fmla="*/ 29123590 h 21600"/>
                <a:gd name="T70" fmla="*/ 109545664 w 21600"/>
                <a:gd name="T71" fmla="*/ 33380085 h 21600"/>
                <a:gd name="T72" fmla="*/ 104806796 w 21600"/>
                <a:gd name="T73" fmla="*/ 35339475 h 21600"/>
                <a:gd name="T74" fmla="*/ 105213226 w 21600"/>
                <a:gd name="T75" fmla="*/ 40992500 h 21600"/>
                <a:gd name="T76" fmla="*/ 100294240 w 21600"/>
                <a:gd name="T77" fmla="*/ 42195559 h 21600"/>
                <a:gd name="T78" fmla="*/ 105305904 w 21600"/>
                <a:gd name="T79" fmla="*/ 46300811 h 21600"/>
                <a:gd name="T80" fmla="*/ 93811005 w 21600"/>
                <a:gd name="T81" fmla="*/ 48425559 h 21600"/>
                <a:gd name="T82" fmla="*/ 84873478 w 21600"/>
                <a:gd name="T83" fmla="*/ 50947748 h 21600"/>
                <a:gd name="T84" fmla="*/ 77489798 w 21600"/>
                <a:gd name="T85" fmla="*/ 52945868 h 21600"/>
                <a:gd name="T86" fmla="*/ 78035244 w 21600"/>
                <a:gd name="T87" fmla="*/ 58859208 h 21600"/>
                <a:gd name="T88" fmla="*/ 69514405 w 21600"/>
                <a:gd name="T89" fmla="*/ 58707966 h 21600"/>
                <a:gd name="T90" fmla="*/ 64682859 w 21600"/>
                <a:gd name="T91" fmla="*/ 60857328 h 21600"/>
                <a:gd name="T92" fmla="*/ 64636592 w 21600"/>
                <a:gd name="T93" fmla="*/ 65300236 h 21600"/>
                <a:gd name="T94" fmla="*/ 57582232 w 21600"/>
                <a:gd name="T95" fmla="*/ 66696826 h 21600"/>
                <a:gd name="T96" fmla="*/ 52297917 w 21600"/>
                <a:gd name="T97" fmla="*/ 71178464 h 21600"/>
                <a:gd name="T98" fmla="*/ 46596770 w 21600"/>
                <a:gd name="T99" fmla="*/ 75983702 h 21600"/>
                <a:gd name="T100" fmla="*/ 30610047 w 21600"/>
                <a:gd name="T101" fmla="*/ 75832459 h 21600"/>
                <a:gd name="T102" fmla="*/ 27553640 w 21600"/>
                <a:gd name="T103" fmla="*/ 72254895 h 21600"/>
                <a:gd name="T104" fmla="*/ 11829310 w 21600"/>
                <a:gd name="T105" fmla="*/ 72367467 h 21600"/>
                <a:gd name="T106" fmla="*/ 5495277 w 21600"/>
                <a:gd name="T107" fmla="*/ 67337026 h 21600"/>
                <a:gd name="T108" fmla="*/ 272723 w 21600"/>
                <a:gd name="T109" fmla="*/ 63478032 h 21600"/>
                <a:gd name="T110" fmla="*/ 272723 w 21600"/>
                <a:gd name="T111" fmla="*/ 63478032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53" y="18045"/>
                  </a:moveTo>
                  <a:lnTo>
                    <a:pt x="107" y="14558"/>
                  </a:lnTo>
                  <a:lnTo>
                    <a:pt x="0" y="10070"/>
                  </a:lnTo>
                  <a:lnTo>
                    <a:pt x="2159" y="10211"/>
                  </a:lnTo>
                  <a:lnTo>
                    <a:pt x="3635" y="10026"/>
                  </a:lnTo>
                  <a:lnTo>
                    <a:pt x="3743" y="8340"/>
                  </a:lnTo>
                  <a:lnTo>
                    <a:pt x="3872" y="5770"/>
                  </a:lnTo>
                  <a:lnTo>
                    <a:pt x="4773" y="6940"/>
                  </a:lnTo>
                  <a:lnTo>
                    <a:pt x="6283" y="6312"/>
                  </a:lnTo>
                  <a:lnTo>
                    <a:pt x="6348" y="7658"/>
                  </a:lnTo>
                  <a:lnTo>
                    <a:pt x="7377" y="7550"/>
                  </a:lnTo>
                  <a:lnTo>
                    <a:pt x="8423" y="7808"/>
                  </a:lnTo>
                  <a:lnTo>
                    <a:pt x="9505" y="7318"/>
                  </a:lnTo>
                  <a:lnTo>
                    <a:pt x="10217" y="8572"/>
                  </a:lnTo>
                  <a:lnTo>
                    <a:pt x="11153" y="9061"/>
                  </a:lnTo>
                  <a:lnTo>
                    <a:pt x="12500" y="9973"/>
                  </a:lnTo>
                  <a:lnTo>
                    <a:pt x="13088" y="11346"/>
                  </a:lnTo>
                  <a:lnTo>
                    <a:pt x="14446" y="11552"/>
                  </a:lnTo>
                  <a:lnTo>
                    <a:pt x="14464" y="8953"/>
                  </a:lnTo>
                  <a:lnTo>
                    <a:pt x="13355" y="9424"/>
                  </a:lnTo>
                  <a:lnTo>
                    <a:pt x="11672" y="7422"/>
                  </a:lnTo>
                  <a:lnTo>
                    <a:pt x="12100" y="5775"/>
                  </a:lnTo>
                  <a:lnTo>
                    <a:pt x="12584" y="3775"/>
                  </a:lnTo>
                  <a:lnTo>
                    <a:pt x="11939" y="2191"/>
                  </a:lnTo>
                  <a:lnTo>
                    <a:pt x="13084" y="350"/>
                  </a:lnTo>
                  <a:lnTo>
                    <a:pt x="14397" y="60"/>
                  </a:lnTo>
                  <a:lnTo>
                    <a:pt x="16277" y="0"/>
                  </a:lnTo>
                  <a:lnTo>
                    <a:pt x="17468" y="803"/>
                  </a:lnTo>
                  <a:lnTo>
                    <a:pt x="18724" y="1223"/>
                  </a:lnTo>
                  <a:lnTo>
                    <a:pt x="19813" y="2208"/>
                  </a:lnTo>
                  <a:lnTo>
                    <a:pt x="20992" y="2730"/>
                  </a:lnTo>
                  <a:lnTo>
                    <a:pt x="21122" y="4049"/>
                  </a:lnTo>
                  <a:lnTo>
                    <a:pt x="21600" y="5238"/>
                  </a:lnTo>
                  <a:lnTo>
                    <a:pt x="21060" y="6673"/>
                  </a:lnTo>
                  <a:lnTo>
                    <a:pt x="20874" y="8279"/>
                  </a:lnTo>
                  <a:lnTo>
                    <a:pt x="21290" y="9489"/>
                  </a:lnTo>
                  <a:lnTo>
                    <a:pt x="20369" y="10046"/>
                  </a:lnTo>
                  <a:lnTo>
                    <a:pt x="20448" y="11653"/>
                  </a:lnTo>
                  <a:lnTo>
                    <a:pt x="19492" y="11995"/>
                  </a:lnTo>
                  <a:lnTo>
                    <a:pt x="20466" y="13162"/>
                  </a:lnTo>
                  <a:lnTo>
                    <a:pt x="18232" y="13766"/>
                  </a:lnTo>
                  <a:lnTo>
                    <a:pt x="16495" y="14483"/>
                  </a:lnTo>
                  <a:lnTo>
                    <a:pt x="15060" y="15051"/>
                  </a:lnTo>
                  <a:lnTo>
                    <a:pt x="15166" y="16732"/>
                  </a:lnTo>
                  <a:lnTo>
                    <a:pt x="13510" y="16689"/>
                  </a:lnTo>
                  <a:lnTo>
                    <a:pt x="12571" y="17300"/>
                  </a:lnTo>
                  <a:lnTo>
                    <a:pt x="12562" y="18563"/>
                  </a:lnTo>
                  <a:lnTo>
                    <a:pt x="11191" y="18960"/>
                  </a:lnTo>
                  <a:lnTo>
                    <a:pt x="10164" y="20234"/>
                  </a:lnTo>
                  <a:lnTo>
                    <a:pt x="9056" y="21600"/>
                  </a:lnTo>
                  <a:lnTo>
                    <a:pt x="5949" y="21557"/>
                  </a:lnTo>
                  <a:lnTo>
                    <a:pt x="5355" y="20540"/>
                  </a:lnTo>
                  <a:lnTo>
                    <a:pt x="2299" y="20572"/>
                  </a:lnTo>
                  <a:lnTo>
                    <a:pt x="1068" y="19142"/>
                  </a:lnTo>
                  <a:lnTo>
                    <a:pt x="53" y="18045"/>
                  </a:lnTo>
                  <a:close/>
                  <a:moveTo>
                    <a:pt x="53" y="1804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2" name="Freeform 23">
              <a:extLst>
                <a:ext uri="{FF2B5EF4-FFF2-40B4-BE49-F238E27FC236}">
                  <a16:creationId xmlns:a16="http://schemas.microsoft.com/office/drawing/2014/main" id="{F289BEA7-CD61-4C7B-982B-4EE030AA2FB7}"/>
                </a:ext>
              </a:extLst>
            </p:cNvPr>
            <p:cNvSpPr>
              <a:spLocks/>
            </p:cNvSpPr>
            <p:nvPr/>
          </p:nvSpPr>
          <p:spPr bwMode="auto">
            <a:xfrm>
              <a:off x="2180194" y="2447310"/>
              <a:ext cx="390531" cy="589625"/>
            </a:xfrm>
            <a:custGeom>
              <a:avLst/>
              <a:gdLst>
                <a:gd name="T0" fmla="*/ 1303180 w 21600"/>
                <a:gd name="T1" fmla="*/ 33109960 h 21600"/>
                <a:gd name="T2" fmla="*/ 1723825 w 21600"/>
                <a:gd name="T3" fmla="*/ 30475194 h 21600"/>
                <a:gd name="T4" fmla="*/ 357280 w 21600"/>
                <a:gd name="T5" fmla="*/ 27873348 h 21600"/>
                <a:gd name="T6" fmla="*/ 0 w 21600"/>
                <a:gd name="T7" fmla="*/ 24827389 h 21600"/>
                <a:gd name="T8" fmla="*/ 777925 w 21600"/>
                <a:gd name="T9" fmla="*/ 21654310 h 21600"/>
                <a:gd name="T10" fmla="*/ 1975787 w 21600"/>
                <a:gd name="T11" fmla="*/ 17782954 h 21600"/>
                <a:gd name="T12" fmla="*/ 2564380 w 21600"/>
                <a:gd name="T13" fmla="*/ 14704036 h 21600"/>
                <a:gd name="T14" fmla="*/ 2123086 w 21600"/>
                <a:gd name="T15" fmla="*/ 11530996 h 21600"/>
                <a:gd name="T16" fmla="*/ 2060456 w 21600"/>
                <a:gd name="T17" fmla="*/ 8993483 h 21600"/>
                <a:gd name="T18" fmla="*/ 1880071 w 21600"/>
                <a:gd name="T19" fmla="*/ 6047946 h 21600"/>
                <a:gd name="T20" fmla="*/ 1745156 w 21600"/>
                <a:gd name="T21" fmla="*/ 3027102 h 21600"/>
                <a:gd name="T22" fmla="*/ 2375756 w 21600"/>
                <a:gd name="T23" fmla="*/ 444112 h 21600"/>
                <a:gd name="T24" fmla="*/ 4393524 w 21600"/>
                <a:gd name="T25" fmla="*/ 254203 h 21600"/>
                <a:gd name="T26" fmla="*/ 7294535 w 21600"/>
                <a:gd name="T27" fmla="*/ 475487 h 21600"/>
                <a:gd name="T28" fmla="*/ 9354991 w 21600"/>
                <a:gd name="T29" fmla="*/ 381324 h 21600"/>
                <a:gd name="T30" fmla="*/ 11646052 w 21600"/>
                <a:gd name="T31" fmla="*/ 0 h 21600"/>
                <a:gd name="T32" fmla="*/ 11498726 w 21600"/>
                <a:gd name="T33" fmla="*/ 3237413 h 21600"/>
                <a:gd name="T34" fmla="*/ 13201902 w 21600"/>
                <a:gd name="T35" fmla="*/ 5045197 h 21600"/>
                <a:gd name="T36" fmla="*/ 12444626 w 21600"/>
                <a:gd name="T37" fmla="*/ 8758097 h 21600"/>
                <a:gd name="T38" fmla="*/ 13054577 w 21600"/>
                <a:gd name="T39" fmla="*/ 11868388 h 21600"/>
                <a:gd name="T40" fmla="*/ 13327870 w 21600"/>
                <a:gd name="T41" fmla="*/ 15516915 h 21600"/>
                <a:gd name="T42" fmla="*/ 13323069 w 21600"/>
                <a:gd name="T43" fmla="*/ 19948531 h 21600"/>
                <a:gd name="T44" fmla="*/ 13574322 w 21600"/>
                <a:gd name="T45" fmla="*/ 24044300 h 21600"/>
                <a:gd name="T46" fmla="*/ 14869946 w 21600"/>
                <a:gd name="T47" fmla="*/ 26219306 h 21600"/>
                <a:gd name="T48" fmla="*/ 13264532 w 21600"/>
                <a:gd name="T49" fmla="*/ 28946729 h 21600"/>
                <a:gd name="T50" fmla="*/ 11057459 w 21600"/>
                <a:gd name="T51" fmla="*/ 29993409 h 21600"/>
                <a:gd name="T52" fmla="*/ 8745041 w 21600"/>
                <a:gd name="T53" fmla="*/ 31484202 h 21600"/>
                <a:gd name="T54" fmla="*/ 6747922 w 21600"/>
                <a:gd name="T55" fmla="*/ 32341053 h 21600"/>
                <a:gd name="T56" fmla="*/ 4456862 w 21600"/>
                <a:gd name="T57" fmla="*/ 33896179 h 21600"/>
                <a:gd name="T58" fmla="*/ 1303180 w 21600"/>
                <a:gd name="T59" fmla="*/ 33109960 h 21600"/>
                <a:gd name="T60" fmla="*/ 1303180 w 21600"/>
                <a:gd name="T61" fmla="*/ 33109960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1893" y="21099"/>
                  </a:moveTo>
                  <a:lnTo>
                    <a:pt x="2504" y="19420"/>
                  </a:lnTo>
                  <a:lnTo>
                    <a:pt x="519" y="17762"/>
                  </a:lnTo>
                  <a:lnTo>
                    <a:pt x="0" y="15821"/>
                  </a:lnTo>
                  <a:lnTo>
                    <a:pt x="1130" y="13799"/>
                  </a:lnTo>
                  <a:lnTo>
                    <a:pt x="2870" y="11332"/>
                  </a:lnTo>
                  <a:lnTo>
                    <a:pt x="3725" y="9370"/>
                  </a:lnTo>
                  <a:lnTo>
                    <a:pt x="3084" y="7348"/>
                  </a:lnTo>
                  <a:lnTo>
                    <a:pt x="2993" y="5731"/>
                  </a:lnTo>
                  <a:lnTo>
                    <a:pt x="2731" y="3854"/>
                  </a:lnTo>
                  <a:lnTo>
                    <a:pt x="2535" y="1929"/>
                  </a:lnTo>
                  <a:lnTo>
                    <a:pt x="3451" y="283"/>
                  </a:lnTo>
                  <a:lnTo>
                    <a:pt x="6382" y="162"/>
                  </a:lnTo>
                  <a:lnTo>
                    <a:pt x="10596" y="303"/>
                  </a:lnTo>
                  <a:lnTo>
                    <a:pt x="13589" y="243"/>
                  </a:lnTo>
                  <a:lnTo>
                    <a:pt x="16917" y="0"/>
                  </a:lnTo>
                  <a:lnTo>
                    <a:pt x="16703" y="2063"/>
                  </a:lnTo>
                  <a:lnTo>
                    <a:pt x="19177" y="3215"/>
                  </a:lnTo>
                  <a:lnTo>
                    <a:pt x="18077" y="5581"/>
                  </a:lnTo>
                  <a:lnTo>
                    <a:pt x="18963" y="7563"/>
                  </a:lnTo>
                  <a:lnTo>
                    <a:pt x="19360" y="9888"/>
                  </a:lnTo>
                  <a:lnTo>
                    <a:pt x="19353" y="12712"/>
                  </a:lnTo>
                  <a:lnTo>
                    <a:pt x="19718" y="15322"/>
                  </a:lnTo>
                  <a:lnTo>
                    <a:pt x="21600" y="16708"/>
                  </a:lnTo>
                  <a:lnTo>
                    <a:pt x="19268" y="18446"/>
                  </a:lnTo>
                  <a:lnTo>
                    <a:pt x="16062" y="19113"/>
                  </a:lnTo>
                  <a:lnTo>
                    <a:pt x="12703" y="20063"/>
                  </a:lnTo>
                  <a:lnTo>
                    <a:pt x="9802" y="20609"/>
                  </a:lnTo>
                  <a:lnTo>
                    <a:pt x="6474" y="21600"/>
                  </a:lnTo>
                  <a:lnTo>
                    <a:pt x="1893" y="21099"/>
                  </a:lnTo>
                  <a:close/>
                  <a:moveTo>
                    <a:pt x="1893" y="21099"/>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3" name="Freeform 24">
              <a:extLst>
                <a:ext uri="{FF2B5EF4-FFF2-40B4-BE49-F238E27FC236}">
                  <a16:creationId xmlns:a16="http://schemas.microsoft.com/office/drawing/2014/main" id="{1C5231E8-E3FD-4F26-A05F-6C1056CFD67D}"/>
                </a:ext>
              </a:extLst>
            </p:cNvPr>
            <p:cNvSpPr>
              <a:spLocks/>
            </p:cNvSpPr>
            <p:nvPr/>
          </p:nvSpPr>
          <p:spPr bwMode="auto">
            <a:xfrm>
              <a:off x="3265368" y="2271187"/>
              <a:ext cx="681515" cy="10665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0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0 w 21600"/>
                <a:gd name="T101" fmla="*/ 2147483646 h 21600"/>
                <a:gd name="T102" fmla="*/ 2147483646 w 21600"/>
                <a:gd name="T103" fmla="*/ 2147483646 h 21600"/>
                <a:gd name="T104" fmla="*/ 2147483646 w 21600"/>
                <a:gd name="T105" fmla="*/ 2147483646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7" y="15541"/>
                  </a:moveTo>
                  <a:lnTo>
                    <a:pt x="277" y="14619"/>
                  </a:lnTo>
                  <a:lnTo>
                    <a:pt x="680" y="13710"/>
                  </a:lnTo>
                  <a:lnTo>
                    <a:pt x="1912" y="12788"/>
                  </a:lnTo>
                  <a:lnTo>
                    <a:pt x="3626" y="11455"/>
                  </a:lnTo>
                  <a:lnTo>
                    <a:pt x="5761" y="11402"/>
                  </a:lnTo>
                  <a:lnTo>
                    <a:pt x="6733" y="12489"/>
                  </a:lnTo>
                  <a:lnTo>
                    <a:pt x="8581" y="11947"/>
                  </a:lnTo>
                  <a:lnTo>
                    <a:pt x="9600" y="10360"/>
                  </a:lnTo>
                  <a:lnTo>
                    <a:pt x="10450" y="8781"/>
                  </a:lnTo>
                  <a:lnTo>
                    <a:pt x="11287" y="8407"/>
                  </a:lnTo>
                  <a:lnTo>
                    <a:pt x="12085" y="7444"/>
                  </a:lnTo>
                  <a:lnTo>
                    <a:pt x="13444" y="6657"/>
                  </a:lnTo>
                  <a:lnTo>
                    <a:pt x="13857" y="5670"/>
                  </a:lnTo>
                  <a:lnTo>
                    <a:pt x="14600" y="4639"/>
                  </a:lnTo>
                  <a:lnTo>
                    <a:pt x="15280" y="3717"/>
                  </a:lnTo>
                  <a:lnTo>
                    <a:pt x="16873" y="3364"/>
                  </a:lnTo>
                  <a:lnTo>
                    <a:pt x="16915" y="2116"/>
                  </a:lnTo>
                  <a:lnTo>
                    <a:pt x="15705" y="1370"/>
                  </a:lnTo>
                  <a:lnTo>
                    <a:pt x="15386" y="0"/>
                  </a:lnTo>
                  <a:lnTo>
                    <a:pt x="16618" y="882"/>
                  </a:lnTo>
                  <a:lnTo>
                    <a:pt x="18423" y="1424"/>
                  </a:lnTo>
                  <a:lnTo>
                    <a:pt x="18965" y="3079"/>
                  </a:lnTo>
                  <a:lnTo>
                    <a:pt x="19008" y="4395"/>
                  </a:lnTo>
                  <a:lnTo>
                    <a:pt x="20048" y="5955"/>
                  </a:lnTo>
                  <a:lnTo>
                    <a:pt x="16119" y="6158"/>
                  </a:lnTo>
                  <a:lnTo>
                    <a:pt x="16141" y="7243"/>
                  </a:lnTo>
                  <a:lnTo>
                    <a:pt x="18209" y="8314"/>
                  </a:lnTo>
                  <a:lnTo>
                    <a:pt x="19156" y="9210"/>
                  </a:lnTo>
                  <a:lnTo>
                    <a:pt x="19836" y="10526"/>
                  </a:lnTo>
                  <a:lnTo>
                    <a:pt x="18902" y="11882"/>
                  </a:lnTo>
                  <a:lnTo>
                    <a:pt x="18031" y="12650"/>
                  </a:lnTo>
                  <a:lnTo>
                    <a:pt x="16906" y="13450"/>
                  </a:lnTo>
                  <a:lnTo>
                    <a:pt x="17724" y="15348"/>
                  </a:lnTo>
                  <a:lnTo>
                    <a:pt x="18541" y="16583"/>
                  </a:lnTo>
                  <a:lnTo>
                    <a:pt x="19220" y="17668"/>
                  </a:lnTo>
                  <a:lnTo>
                    <a:pt x="21600" y="18793"/>
                  </a:lnTo>
                  <a:lnTo>
                    <a:pt x="21471" y="21600"/>
                  </a:lnTo>
                  <a:lnTo>
                    <a:pt x="19605" y="21365"/>
                  </a:lnTo>
                  <a:lnTo>
                    <a:pt x="17797" y="21057"/>
                  </a:lnTo>
                  <a:lnTo>
                    <a:pt x="16757" y="20420"/>
                  </a:lnTo>
                  <a:lnTo>
                    <a:pt x="15121" y="20393"/>
                  </a:lnTo>
                  <a:lnTo>
                    <a:pt x="12636" y="20366"/>
                  </a:lnTo>
                  <a:lnTo>
                    <a:pt x="10322" y="20244"/>
                  </a:lnTo>
                  <a:lnTo>
                    <a:pt x="7527" y="20311"/>
                  </a:lnTo>
                  <a:lnTo>
                    <a:pt x="5076" y="20230"/>
                  </a:lnTo>
                  <a:lnTo>
                    <a:pt x="3207" y="20149"/>
                  </a:lnTo>
                  <a:lnTo>
                    <a:pt x="3101" y="19104"/>
                  </a:lnTo>
                  <a:lnTo>
                    <a:pt x="2803" y="18101"/>
                  </a:lnTo>
                  <a:lnTo>
                    <a:pt x="1593" y="17422"/>
                  </a:lnTo>
                  <a:lnTo>
                    <a:pt x="0" y="16690"/>
                  </a:lnTo>
                  <a:lnTo>
                    <a:pt x="107" y="15541"/>
                  </a:lnTo>
                  <a:close/>
                  <a:moveTo>
                    <a:pt x="107" y="15541"/>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44" name="Freeform 25">
              <a:extLst>
                <a:ext uri="{FF2B5EF4-FFF2-40B4-BE49-F238E27FC236}">
                  <a16:creationId xmlns:a16="http://schemas.microsoft.com/office/drawing/2014/main" id="{E7F482A6-7492-42B4-98A0-1D447B940781}"/>
                </a:ext>
              </a:extLst>
            </p:cNvPr>
            <p:cNvSpPr>
              <a:spLocks/>
            </p:cNvSpPr>
            <p:nvPr/>
          </p:nvSpPr>
          <p:spPr bwMode="auto">
            <a:xfrm>
              <a:off x="3472120" y="3156174"/>
              <a:ext cx="704488" cy="785438"/>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1403466259 h 21600"/>
                <a:gd name="T50" fmla="*/ 2147483646 w 21600"/>
                <a:gd name="T51" fmla="*/ 33341591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0 w 21600"/>
                <a:gd name="T97" fmla="*/ 2147483646 h 21600"/>
                <a:gd name="T98" fmla="*/ 0 w 21600"/>
                <a:gd name="T99" fmla="*/ 2147483646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600" h="21600">
                  <a:moveTo>
                    <a:pt x="0" y="18622"/>
                  </a:moveTo>
                  <a:lnTo>
                    <a:pt x="2490" y="18740"/>
                  </a:lnTo>
                  <a:lnTo>
                    <a:pt x="2311" y="17263"/>
                  </a:lnTo>
                  <a:lnTo>
                    <a:pt x="1611" y="15012"/>
                  </a:lnTo>
                  <a:lnTo>
                    <a:pt x="3783" y="14825"/>
                  </a:lnTo>
                  <a:lnTo>
                    <a:pt x="4590" y="13732"/>
                  </a:lnTo>
                  <a:lnTo>
                    <a:pt x="5825" y="14888"/>
                  </a:lnTo>
                  <a:lnTo>
                    <a:pt x="7177" y="14361"/>
                  </a:lnTo>
                  <a:lnTo>
                    <a:pt x="8794" y="14912"/>
                  </a:lnTo>
                  <a:lnTo>
                    <a:pt x="8988" y="13694"/>
                  </a:lnTo>
                  <a:lnTo>
                    <a:pt x="9558" y="11062"/>
                  </a:lnTo>
                  <a:lnTo>
                    <a:pt x="8259" y="10150"/>
                  </a:lnTo>
                  <a:lnTo>
                    <a:pt x="8050" y="8115"/>
                  </a:lnTo>
                  <a:lnTo>
                    <a:pt x="9686" y="7332"/>
                  </a:lnTo>
                  <a:lnTo>
                    <a:pt x="9233" y="5646"/>
                  </a:lnTo>
                  <a:lnTo>
                    <a:pt x="7710" y="5757"/>
                  </a:lnTo>
                  <a:lnTo>
                    <a:pt x="6186" y="5511"/>
                  </a:lnTo>
                  <a:lnTo>
                    <a:pt x="5913" y="3120"/>
                  </a:lnTo>
                  <a:lnTo>
                    <a:pt x="9538" y="3188"/>
                  </a:lnTo>
                  <a:lnTo>
                    <a:pt x="10853" y="4277"/>
                  </a:lnTo>
                  <a:lnTo>
                    <a:pt x="12445" y="4597"/>
                  </a:lnTo>
                  <a:lnTo>
                    <a:pt x="14139" y="4885"/>
                  </a:lnTo>
                  <a:lnTo>
                    <a:pt x="14326" y="3576"/>
                  </a:lnTo>
                  <a:lnTo>
                    <a:pt x="15671" y="2087"/>
                  </a:lnTo>
                  <a:lnTo>
                    <a:pt x="15749" y="181"/>
                  </a:lnTo>
                  <a:lnTo>
                    <a:pt x="18904" y="43"/>
                  </a:lnTo>
                  <a:lnTo>
                    <a:pt x="21600" y="0"/>
                  </a:lnTo>
                  <a:lnTo>
                    <a:pt x="20866" y="2309"/>
                  </a:lnTo>
                  <a:lnTo>
                    <a:pt x="19809" y="3933"/>
                  </a:lnTo>
                  <a:lnTo>
                    <a:pt x="19590" y="6259"/>
                  </a:lnTo>
                  <a:lnTo>
                    <a:pt x="19398" y="7969"/>
                  </a:lnTo>
                  <a:lnTo>
                    <a:pt x="18807" y="9618"/>
                  </a:lnTo>
                  <a:lnTo>
                    <a:pt x="18821" y="10984"/>
                  </a:lnTo>
                  <a:lnTo>
                    <a:pt x="17641" y="11800"/>
                  </a:lnTo>
                  <a:lnTo>
                    <a:pt x="16323" y="12871"/>
                  </a:lnTo>
                  <a:lnTo>
                    <a:pt x="14827" y="14655"/>
                  </a:lnTo>
                  <a:lnTo>
                    <a:pt x="14731" y="16648"/>
                  </a:lnTo>
                  <a:lnTo>
                    <a:pt x="14607" y="18260"/>
                  </a:lnTo>
                  <a:lnTo>
                    <a:pt x="14099" y="19442"/>
                  </a:lnTo>
                  <a:lnTo>
                    <a:pt x="12754" y="19577"/>
                  </a:lnTo>
                  <a:lnTo>
                    <a:pt x="11519" y="20598"/>
                  </a:lnTo>
                  <a:lnTo>
                    <a:pt x="9803" y="21398"/>
                  </a:lnTo>
                  <a:lnTo>
                    <a:pt x="9625" y="20118"/>
                  </a:lnTo>
                  <a:lnTo>
                    <a:pt x="7991" y="20545"/>
                  </a:lnTo>
                  <a:lnTo>
                    <a:pt x="6372" y="20726"/>
                  </a:lnTo>
                  <a:lnTo>
                    <a:pt x="4628" y="20517"/>
                  </a:lnTo>
                  <a:lnTo>
                    <a:pt x="3187" y="21600"/>
                  </a:lnTo>
                  <a:lnTo>
                    <a:pt x="1820" y="20296"/>
                  </a:lnTo>
                  <a:lnTo>
                    <a:pt x="0" y="18622"/>
                  </a:lnTo>
                  <a:close/>
                  <a:moveTo>
                    <a:pt x="0" y="18622"/>
                  </a:moveTo>
                </a:path>
              </a:pathLst>
            </a:custGeom>
            <a:solidFill>
              <a:srgbClr val="97BAFF"/>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5" name="Freeform 27">
              <a:extLst>
                <a:ext uri="{FF2B5EF4-FFF2-40B4-BE49-F238E27FC236}">
                  <a16:creationId xmlns:a16="http://schemas.microsoft.com/office/drawing/2014/main" id="{2218607E-7B30-43E3-92B3-9E0D1913A7FC}"/>
                </a:ext>
              </a:extLst>
            </p:cNvPr>
            <p:cNvSpPr>
              <a:spLocks/>
            </p:cNvSpPr>
            <p:nvPr/>
          </p:nvSpPr>
          <p:spPr bwMode="auto">
            <a:xfrm>
              <a:off x="4298034" y="5128521"/>
              <a:ext cx="797471" cy="811693"/>
            </a:xfrm>
            <a:custGeom>
              <a:avLst/>
              <a:gdLst>
                <a:gd name="T0" fmla="*/ 0 w 21600"/>
                <a:gd name="T1" fmla="*/ 49054632 h 21600"/>
                <a:gd name="T2" fmla="*/ 467898 w 21600"/>
                <a:gd name="T3" fmla="*/ 28912333 h 21600"/>
                <a:gd name="T4" fmla="*/ 6473253 w 21600"/>
                <a:gd name="T5" fmla="*/ 28403807 h 21600"/>
                <a:gd name="T6" fmla="*/ 6613895 w 21600"/>
                <a:gd name="T7" fmla="*/ 20879811 h 21600"/>
                <a:gd name="T8" fmla="*/ 6748805 w 21600"/>
                <a:gd name="T9" fmla="*/ 14893335 h 21600"/>
                <a:gd name="T10" fmla="*/ 6883715 w 21600"/>
                <a:gd name="T11" fmla="*/ 7797591 h 21600"/>
                <a:gd name="T12" fmla="*/ 6702888 w 21600"/>
                <a:gd name="T13" fmla="*/ 2170981 h 21600"/>
                <a:gd name="T14" fmla="*/ 14654468 w 21600"/>
                <a:gd name="T15" fmla="*/ 2099597 h 21600"/>
                <a:gd name="T16" fmla="*/ 23421346 w 21600"/>
                <a:gd name="T17" fmla="*/ 499637 h 21600"/>
                <a:gd name="T18" fmla="*/ 26045065 w 21600"/>
                <a:gd name="T19" fmla="*/ 3003654 h 21600"/>
                <a:gd name="T20" fmla="*/ 29403662 w 21600"/>
                <a:gd name="T21" fmla="*/ 0 h 21600"/>
                <a:gd name="T22" fmla="*/ 36451058 w 21600"/>
                <a:gd name="T23" fmla="*/ 0 h 21600"/>
                <a:gd name="T24" fmla="*/ 40139803 w 21600"/>
                <a:gd name="T25" fmla="*/ 5590945 h 21600"/>
                <a:gd name="T26" fmla="*/ 42680262 w 21600"/>
                <a:gd name="T27" fmla="*/ 9430271 h 21600"/>
                <a:gd name="T28" fmla="*/ 46366168 w 21600"/>
                <a:gd name="T29" fmla="*/ 13688906 h 21600"/>
                <a:gd name="T30" fmla="*/ 49842476 w 21600"/>
                <a:gd name="T31" fmla="*/ 15505965 h 21600"/>
                <a:gd name="T32" fmla="*/ 53786681 w 21600"/>
                <a:gd name="T33" fmla="*/ 18908096 h 21600"/>
                <a:gd name="T34" fmla="*/ 53482411 w 21600"/>
                <a:gd name="T35" fmla="*/ 24499095 h 21600"/>
                <a:gd name="T36" fmla="*/ 57125187 w 21600"/>
                <a:gd name="T37" fmla="*/ 26119832 h 21600"/>
                <a:gd name="T38" fmla="*/ 61603351 w 21600"/>
                <a:gd name="T39" fmla="*/ 27211267 h 21600"/>
                <a:gd name="T40" fmla="*/ 62005241 w 21600"/>
                <a:gd name="T41" fmla="*/ 31612671 h 21600"/>
                <a:gd name="T42" fmla="*/ 58615033 w 21600"/>
                <a:gd name="T43" fmla="*/ 33667605 h 21600"/>
                <a:gd name="T44" fmla="*/ 55399972 w 21600"/>
                <a:gd name="T45" fmla="*/ 35160516 h 21600"/>
                <a:gd name="T46" fmla="*/ 52282476 w 21600"/>
                <a:gd name="T47" fmla="*/ 38610255 h 21600"/>
                <a:gd name="T48" fmla="*/ 47901931 w 21600"/>
                <a:gd name="T49" fmla="*/ 40492753 h 21600"/>
                <a:gd name="T50" fmla="*/ 45766200 w 21600"/>
                <a:gd name="T51" fmla="*/ 45857711 h 21600"/>
                <a:gd name="T52" fmla="*/ 39617309 w 21600"/>
                <a:gd name="T53" fmla="*/ 50464270 h 21600"/>
                <a:gd name="T54" fmla="*/ 38044256 w 21600"/>
                <a:gd name="T55" fmla="*/ 55591298 h 21600"/>
                <a:gd name="T56" fmla="*/ 30586399 w 21600"/>
                <a:gd name="T57" fmla="*/ 56218816 h 21600"/>
                <a:gd name="T58" fmla="*/ 24116039 w 21600"/>
                <a:gd name="T59" fmla="*/ 53253826 h 21600"/>
                <a:gd name="T60" fmla="*/ 20590922 w 21600"/>
                <a:gd name="T61" fmla="*/ 53149721 h 21600"/>
                <a:gd name="T62" fmla="*/ 18466657 w 21600"/>
                <a:gd name="T63" fmla="*/ 56322866 h 21600"/>
                <a:gd name="T64" fmla="*/ 16138582 w 21600"/>
                <a:gd name="T65" fmla="*/ 59564450 h 21600"/>
                <a:gd name="T66" fmla="*/ 12989529 w 21600"/>
                <a:gd name="T67" fmla="*/ 63992575 h 21600"/>
                <a:gd name="T68" fmla="*/ 6315358 w 21600"/>
                <a:gd name="T69" fmla="*/ 64236449 h 21600"/>
                <a:gd name="T70" fmla="*/ 5356578 w 21600"/>
                <a:gd name="T71" fmla="*/ 60052143 h 21600"/>
                <a:gd name="T72" fmla="*/ 5152767 w 21600"/>
                <a:gd name="T73" fmla="*/ 55067885 h 21600"/>
                <a:gd name="T74" fmla="*/ 3028502 w 21600"/>
                <a:gd name="T75" fmla="*/ 51998790 h 21600"/>
                <a:gd name="T76" fmla="*/ 0 w 21600"/>
                <a:gd name="T77" fmla="*/ 49054632 h 21600"/>
                <a:gd name="T78" fmla="*/ 0 w 21600"/>
                <a:gd name="T79" fmla="*/ 49054632 h 216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600" h="21600">
                  <a:moveTo>
                    <a:pt x="0" y="16495"/>
                  </a:moveTo>
                  <a:lnTo>
                    <a:pt x="163" y="9722"/>
                  </a:lnTo>
                  <a:lnTo>
                    <a:pt x="2255" y="9551"/>
                  </a:lnTo>
                  <a:lnTo>
                    <a:pt x="2304" y="7021"/>
                  </a:lnTo>
                  <a:lnTo>
                    <a:pt x="2351" y="5008"/>
                  </a:lnTo>
                  <a:lnTo>
                    <a:pt x="2398" y="2622"/>
                  </a:lnTo>
                  <a:lnTo>
                    <a:pt x="2335" y="730"/>
                  </a:lnTo>
                  <a:lnTo>
                    <a:pt x="5105" y="706"/>
                  </a:lnTo>
                  <a:lnTo>
                    <a:pt x="8159" y="168"/>
                  </a:lnTo>
                  <a:lnTo>
                    <a:pt x="9073" y="1010"/>
                  </a:lnTo>
                  <a:lnTo>
                    <a:pt x="10243" y="0"/>
                  </a:lnTo>
                  <a:lnTo>
                    <a:pt x="12698" y="0"/>
                  </a:lnTo>
                  <a:lnTo>
                    <a:pt x="13983" y="1880"/>
                  </a:lnTo>
                  <a:lnTo>
                    <a:pt x="14868" y="3171"/>
                  </a:lnTo>
                  <a:lnTo>
                    <a:pt x="16152" y="4603"/>
                  </a:lnTo>
                  <a:lnTo>
                    <a:pt x="17363" y="5214"/>
                  </a:lnTo>
                  <a:lnTo>
                    <a:pt x="18737" y="6358"/>
                  </a:lnTo>
                  <a:lnTo>
                    <a:pt x="18631" y="8238"/>
                  </a:lnTo>
                  <a:lnTo>
                    <a:pt x="19900" y="8783"/>
                  </a:lnTo>
                  <a:lnTo>
                    <a:pt x="21460" y="9150"/>
                  </a:lnTo>
                  <a:lnTo>
                    <a:pt x="21600" y="10630"/>
                  </a:lnTo>
                  <a:lnTo>
                    <a:pt x="20419" y="11321"/>
                  </a:lnTo>
                  <a:lnTo>
                    <a:pt x="19299" y="11823"/>
                  </a:lnTo>
                  <a:lnTo>
                    <a:pt x="18213" y="12983"/>
                  </a:lnTo>
                  <a:lnTo>
                    <a:pt x="16687" y="13616"/>
                  </a:lnTo>
                  <a:lnTo>
                    <a:pt x="15943" y="15420"/>
                  </a:lnTo>
                  <a:lnTo>
                    <a:pt x="13801" y="16969"/>
                  </a:lnTo>
                  <a:lnTo>
                    <a:pt x="13253" y="18693"/>
                  </a:lnTo>
                  <a:lnTo>
                    <a:pt x="10655" y="18904"/>
                  </a:lnTo>
                  <a:lnTo>
                    <a:pt x="8401" y="17907"/>
                  </a:lnTo>
                  <a:lnTo>
                    <a:pt x="7173" y="17872"/>
                  </a:lnTo>
                  <a:lnTo>
                    <a:pt x="6433" y="18939"/>
                  </a:lnTo>
                  <a:lnTo>
                    <a:pt x="5622" y="20029"/>
                  </a:lnTo>
                  <a:lnTo>
                    <a:pt x="4525" y="21518"/>
                  </a:lnTo>
                  <a:lnTo>
                    <a:pt x="2200" y="21600"/>
                  </a:lnTo>
                  <a:lnTo>
                    <a:pt x="1866" y="20193"/>
                  </a:lnTo>
                  <a:lnTo>
                    <a:pt x="1795" y="18517"/>
                  </a:lnTo>
                  <a:lnTo>
                    <a:pt x="1055" y="17485"/>
                  </a:lnTo>
                  <a:lnTo>
                    <a:pt x="0" y="16495"/>
                  </a:lnTo>
                  <a:close/>
                  <a:moveTo>
                    <a:pt x="0" y="1649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6" name="Freeform 28">
              <a:extLst>
                <a:ext uri="{FF2B5EF4-FFF2-40B4-BE49-F238E27FC236}">
                  <a16:creationId xmlns:a16="http://schemas.microsoft.com/office/drawing/2014/main" id="{82E5CF1E-CB79-4C84-B749-AD4B66C2AFAB}"/>
                </a:ext>
              </a:extLst>
            </p:cNvPr>
            <p:cNvSpPr>
              <a:spLocks/>
            </p:cNvSpPr>
            <p:nvPr/>
          </p:nvSpPr>
          <p:spPr bwMode="auto">
            <a:xfrm>
              <a:off x="1996415" y="2081938"/>
              <a:ext cx="699018" cy="523990"/>
            </a:xfrm>
            <a:custGeom>
              <a:avLst/>
              <a:gdLst>
                <a:gd name="T0" fmla="*/ 0 w 21600"/>
                <a:gd name="T1" fmla="*/ 22185407 h 21600"/>
                <a:gd name="T2" fmla="*/ 507300 w 21600"/>
                <a:gd name="T3" fmla="*/ 19497281 h 21600"/>
                <a:gd name="T4" fmla="*/ 1343204 w 21600"/>
                <a:gd name="T5" fmla="*/ 14882002 h 21600"/>
                <a:gd name="T6" fmla="*/ 4713306 w 21600"/>
                <a:gd name="T7" fmla="*/ 14165666 h 21600"/>
                <a:gd name="T8" fmla="*/ 7298225 w 21600"/>
                <a:gd name="T9" fmla="*/ 12071153 h 21600"/>
                <a:gd name="T10" fmla="*/ 7748182 w 21600"/>
                <a:gd name="T11" fmla="*/ 8288702 h 21600"/>
                <a:gd name="T12" fmla="*/ 10714680 w 21600"/>
                <a:gd name="T13" fmla="*/ 6937809 h 21600"/>
                <a:gd name="T14" fmla="*/ 14133295 w 21600"/>
                <a:gd name="T15" fmla="*/ 7613273 h 21600"/>
                <a:gd name="T16" fmla="*/ 16969657 w 21600"/>
                <a:gd name="T17" fmla="*/ 5831093 h 21600"/>
                <a:gd name="T18" fmla="*/ 18359167 w 21600"/>
                <a:gd name="T19" fmla="*/ 3492474 h 21600"/>
                <a:gd name="T20" fmla="*/ 21506521 w 21600"/>
                <a:gd name="T21" fmla="*/ 3020279 h 21600"/>
                <a:gd name="T22" fmla="*/ 24468604 w 21600"/>
                <a:gd name="T23" fmla="*/ 835327 h 21600"/>
                <a:gd name="T24" fmla="*/ 28520240 w 21600"/>
                <a:gd name="T25" fmla="*/ 48335 h 21600"/>
                <a:gd name="T26" fmla="*/ 32199128 w 21600"/>
                <a:gd name="T27" fmla="*/ 0 h 21600"/>
                <a:gd name="T28" fmla="*/ 37000678 w 21600"/>
                <a:gd name="T29" fmla="*/ 439983 h 21600"/>
                <a:gd name="T30" fmla="*/ 36634550 w 21600"/>
                <a:gd name="T31" fmla="*/ 4067500 h 21600"/>
                <a:gd name="T32" fmla="*/ 39170956 w 21600"/>
                <a:gd name="T33" fmla="*/ 6544965 h 21600"/>
                <a:gd name="T34" fmla="*/ 41674299 w 21600"/>
                <a:gd name="T35" fmla="*/ 8203191 h 21600"/>
                <a:gd name="T36" fmla="*/ 42369031 w 21600"/>
                <a:gd name="T37" fmla="*/ 10315024 h 21600"/>
                <a:gd name="T38" fmla="*/ 45875890 w 21600"/>
                <a:gd name="T39" fmla="*/ 11597726 h 21600"/>
                <a:gd name="T40" fmla="*/ 47640357 w 21600"/>
                <a:gd name="T41" fmla="*/ 14050407 h 21600"/>
                <a:gd name="T42" fmla="*/ 47013957 w 21600"/>
                <a:gd name="T43" fmla="*/ 17343308 h 21600"/>
                <a:gd name="T44" fmla="*/ 42481508 w 21600"/>
                <a:gd name="T45" fmla="*/ 17791951 h 21600"/>
                <a:gd name="T46" fmla="*/ 39528254 w 21600"/>
                <a:gd name="T47" fmla="*/ 19404341 h 21600"/>
                <a:gd name="T48" fmla="*/ 33681296 w 21600"/>
                <a:gd name="T49" fmla="*/ 19158968 h 21600"/>
                <a:gd name="T50" fmla="*/ 27986500 w 21600"/>
                <a:gd name="T51" fmla="*/ 19181252 h 21600"/>
                <a:gd name="T52" fmla="*/ 22558597 w 21600"/>
                <a:gd name="T53" fmla="*/ 19181252 h 21600"/>
                <a:gd name="T54" fmla="*/ 16623395 w 21600"/>
                <a:gd name="T55" fmla="*/ 19225891 h 21600"/>
                <a:gd name="T56" fmla="*/ 15489742 w 21600"/>
                <a:gd name="T57" fmla="*/ 21863183 h 21600"/>
                <a:gd name="T58" fmla="*/ 16116095 w 21600"/>
                <a:gd name="T59" fmla="*/ 26769741 h 21600"/>
                <a:gd name="T60" fmla="*/ 12565136 w 21600"/>
                <a:gd name="T61" fmla="*/ 24753347 h 21600"/>
                <a:gd name="T62" fmla="*/ 7505569 w 21600"/>
                <a:gd name="T63" fmla="*/ 25447364 h 21600"/>
                <a:gd name="T64" fmla="*/ 3301723 w 21600"/>
                <a:gd name="T65" fmla="*/ 24081614 h 21600"/>
                <a:gd name="T66" fmla="*/ 0 w 21600"/>
                <a:gd name="T67" fmla="*/ 22185407 h 21600"/>
                <a:gd name="T68" fmla="*/ 0 w 21600"/>
                <a:gd name="T69" fmla="*/ 22185407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0" y="17901"/>
                  </a:moveTo>
                  <a:lnTo>
                    <a:pt x="230" y="15732"/>
                  </a:lnTo>
                  <a:lnTo>
                    <a:pt x="609" y="12008"/>
                  </a:lnTo>
                  <a:lnTo>
                    <a:pt x="2137" y="11430"/>
                  </a:lnTo>
                  <a:lnTo>
                    <a:pt x="3309" y="9740"/>
                  </a:lnTo>
                  <a:lnTo>
                    <a:pt x="3513" y="6688"/>
                  </a:lnTo>
                  <a:lnTo>
                    <a:pt x="4858" y="5598"/>
                  </a:lnTo>
                  <a:lnTo>
                    <a:pt x="6408" y="6143"/>
                  </a:lnTo>
                  <a:lnTo>
                    <a:pt x="7694" y="4705"/>
                  </a:lnTo>
                  <a:lnTo>
                    <a:pt x="8324" y="2818"/>
                  </a:lnTo>
                  <a:lnTo>
                    <a:pt x="9751" y="2437"/>
                  </a:lnTo>
                  <a:lnTo>
                    <a:pt x="11094" y="674"/>
                  </a:lnTo>
                  <a:lnTo>
                    <a:pt x="12931" y="39"/>
                  </a:lnTo>
                  <a:lnTo>
                    <a:pt x="14599" y="0"/>
                  </a:lnTo>
                  <a:lnTo>
                    <a:pt x="16776" y="355"/>
                  </a:lnTo>
                  <a:lnTo>
                    <a:pt x="16610" y="3282"/>
                  </a:lnTo>
                  <a:lnTo>
                    <a:pt x="17760" y="5281"/>
                  </a:lnTo>
                  <a:lnTo>
                    <a:pt x="18895" y="6619"/>
                  </a:lnTo>
                  <a:lnTo>
                    <a:pt x="19210" y="8323"/>
                  </a:lnTo>
                  <a:lnTo>
                    <a:pt x="20800" y="9358"/>
                  </a:lnTo>
                  <a:lnTo>
                    <a:pt x="21600" y="11337"/>
                  </a:lnTo>
                  <a:lnTo>
                    <a:pt x="21316" y="13994"/>
                  </a:lnTo>
                  <a:lnTo>
                    <a:pt x="19261" y="14356"/>
                  </a:lnTo>
                  <a:lnTo>
                    <a:pt x="17922" y="15657"/>
                  </a:lnTo>
                  <a:lnTo>
                    <a:pt x="15271" y="15459"/>
                  </a:lnTo>
                  <a:lnTo>
                    <a:pt x="12689" y="15477"/>
                  </a:lnTo>
                  <a:lnTo>
                    <a:pt x="10228" y="15477"/>
                  </a:lnTo>
                  <a:lnTo>
                    <a:pt x="7537" y="15513"/>
                  </a:lnTo>
                  <a:lnTo>
                    <a:pt x="7023" y="17641"/>
                  </a:lnTo>
                  <a:lnTo>
                    <a:pt x="7307" y="21600"/>
                  </a:lnTo>
                  <a:lnTo>
                    <a:pt x="5697" y="19973"/>
                  </a:lnTo>
                  <a:lnTo>
                    <a:pt x="3403" y="20533"/>
                  </a:lnTo>
                  <a:lnTo>
                    <a:pt x="1497" y="19431"/>
                  </a:lnTo>
                  <a:lnTo>
                    <a:pt x="0" y="17901"/>
                  </a:lnTo>
                  <a:close/>
                  <a:moveTo>
                    <a:pt x="0" y="17901"/>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7" name="Freeform 29">
              <a:extLst>
                <a:ext uri="{FF2B5EF4-FFF2-40B4-BE49-F238E27FC236}">
                  <a16:creationId xmlns:a16="http://schemas.microsoft.com/office/drawing/2014/main" id="{337349DE-7E9F-4E39-B727-A59904DDF8A7}"/>
                </a:ext>
              </a:extLst>
            </p:cNvPr>
            <p:cNvSpPr>
              <a:spLocks/>
            </p:cNvSpPr>
            <p:nvPr/>
          </p:nvSpPr>
          <p:spPr bwMode="auto">
            <a:xfrm>
              <a:off x="5195052" y="3105853"/>
              <a:ext cx="490079" cy="510863"/>
            </a:xfrm>
            <a:custGeom>
              <a:avLst/>
              <a:gdLst>
                <a:gd name="T0" fmla="*/ 0 w 21600"/>
                <a:gd name="T1" fmla="*/ 25445260 h 21600"/>
                <a:gd name="T2" fmla="*/ 22752 w 21600"/>
                <a:gd name="T3" fmla="*/ 22582676 h 21600"/>
                <a:gd name="T4" fmla="*/ 521448 w 21600"/>
                <a:gd name="T5" fmla="*/ 18843637 h 21600"/>
                <a:gd name="T6" fmla="*/ 1427767 w 21600"/>
                <a:gd name="T7" fmla="*/ 15602890 h 21600"/>
                <a:gd name="T8" fmla="*/ 4012320 w 21600"/>
                <a:gd name="T9" fmla="*/ 12905225 h 21600"/>
                <a:gd name="T10" fmla="*/ 5847710 w 21600"/>
                <a:gd name="T11" fmla="*/ 10822478 h 21600"/>
                <a:gd name="T12" fmla="*/ 6913424 w 21600"/>
                <a:gd name="T13" fmla="*/ 8621937 h 21600"/>
                <a:gd name="T14" fmla="*/ 4985841 w 21600"/>
                <a:gd name="T15" fmla="*/ 7628855 h 21600"/>
                <a:gd name="T16" fmla="*/ 4955484 w 21600"/>
                <a:gd name="T17" fmla="*/ 2537449 h 21600"/>
                <a:gd name="T18" fmla="*/ 7721064 w 21600"/>
                <a:gd name="T19" fmla="*/ 1353535 h 21600"/>
                <a:gd name="T20" fmla="*/ 11642344 w 21600"/>
                <a:gd name="T21" fmla="*/ 1660994 h 21600"/>
                <a:gd name="T22" fmla="*/ 15693682 w 21600"/>
                <a:gd name="T23" fmla="*/ 1375913 h 21600"/>
                <a:gd name="T24" fmla="*/ 18906989 w 21600"/>
                <a:gd name="T25" fmla="*/ 0 h 21600"/>
                <a:gd name="T26" fmla="*/ 21568490 w 21600"/>
                <a:gd name="T27" fmla="*/ 2748325 h 21600"/>
                <a:gd name="T28" fmla="*/ 21320228 w 21600"/>
                <a:gd name="T29" fmla="*/ 5613277 h 21600"/>
                <a:gd name="T30" fmla="*/ 23292261 w 21600"/>
                <a:gd name="T31" fmla="*/ 7790239 h 21600"/>
                <a:gd name="T32" fmla="*/ 23416919 w 21600"/>
                <a:gd name="T33" fmla="*/ 11881527 h 21600"/>
                <a:gd name="T34" fmla="*/ 21343013 w 21600"/>
                <a:gd name="T35" fmla="*/ 15015052 h 21600"/>
                <a:gd name="T36" fmla="*/ 19007808 w 21600"/>
                <a:gd name="T37" fmla="*/ 19131052 h 21600"/>
                <a:gd name="T38" fmla="*/ 15042110 w 21600"/>
                <a:gd name="T39" fmla="*/ 24407422 h 21600"/>
                <a:gd name="T40" fmla="*/ 9942444 w 21600"/>
                <a:gd name="T41" fmla="*/ 23958589 h 21600"/>
                <a:gd name="T42" fmla="*/ 4547861 w 21600"/>
                <a:gd name="T43" fmla="*/ 24005713 h 21600"/>
                <a:gd name="T44" fmla="*/ 2168238 w 21600"/>
                <a:gd name="T45" fmla="*/ 24879800 h 21600"/>
                <a:gd name="T46" fmla="*/ 0 w 21600"/>
                <a:gd name="T47" fmla="*/ 25445260 h 21600"/>
                <a:gd name="T48" fmla="*/ 0 w 21600"/>
                <a:gd name="T49" fmla="*/ 25445260 h 216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600" h="21600">
                  <a:moveTo>
                    <a:pt x="0" y="21600"/>
                  </a:moveTo>
                  <a:lnTo>
                    <a:pt x="21" y="19170"/>
                  </a:lnTo>
                  <a:lnTo>
                    <a:pt x="481" y="15996"/>
                  </a:lnTo>
                  <a:lnTo>
                    <a:pt x="1317" y="13245"/>
                  </a:lnTo>
                  <a:lnTo>
                    <a:pt x="3701" y="10955"/>
                  </a:lnTo>
                  <a:lnTo>
                    <a:pt x="5394" y="9187"/>
                  </a:lnTo>
                  <a:lnTo>
                    <a:pt x="6377" y="7319"/>
                  </a:lnTo>
                  <a:lnTo>
                    <a:pt x="4599" y="6476"/>
                  </a:lnTo>
                  <a:lnTo>
                    <a:pt x="4571" y="2154"/>
                  </a:lnTo>
                  <a:lnTo>
                    <a:pt x="7122" y="1149"/>
                  </a:lnTo>
                  <a:lnTo>
                    <a:pt x="10739" y="1410"/>
                  </a:lnTo>
                  <a:lnTo>
                    <a:pt x="14476" y="1168"/>
                  </a:lnTo>
                  <a:lnTo>
                    <a:pt x="17440" y="0"/>
                  </a:lnTo>
                  <a:lnTo>
                    <a:pt x="19895" y="2333"/>
                  </a:lnTo>
                  <a:lnTo>
                    <a:pt x="19666" y="4765"/>
                  </a:lnTo>
                  <a:lnTo>
                    <a:pt x="21485" y="6613"/>
                  </a:lnTo>
                  <a:lnTo>
                    <a:pt x="21600" y="10086"/>
                  </a:lnTo>
                  <a:lnTo>
                    <a:pt x="19687" y="12746"/>
                  </a:lnTo>
                  <a:lnTo>
                    <a:pt x="17533" y="16240"/>
                  </a:lnTo>
                  <a:lnTo>
                    <a:pt x="13875" y="20719"/>
                  </a:lnTo>
                  <a:lnTo>
                    <a:pt x="9171" y="20338"/>
                  </a:lnTo>
                  <a:lnTo>
                    <a:pt x="4195" y="20378"/>
                  </a:lnTo>
                  <a:lnTo>
                    <a:pt x="2000" y="21120"/>
                  </a:lnTo>
                  <a:lnTo>
                    <a:pt x="0" y="21600"/>
                  </a:lnTo>
                  <a:close/>
                  <a:moveTo>
                    <a:pt x="0"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8" name="Freeform 30">
              <a:extLst>
                <a:ext uri="{FF2B5EF4-FFF2-40B4-BE49-F238E27FC236}">
                  <a16:creationId xmlns:a16="http://schemas.microsoft.com/office/drawing/2014/main" id="{073703DB-9B9D-4131-9477-D2C7E27FBAA9}"/>
                </a:ext>
              </a:extLst>
            </p:cNvPr>
            <p:cNvSpPr>
              <a:spLocks/>
            </p:cNvSpPr>
            <p:nvPr/>
          </p:nvSpPr>
          <p:spPr bwMode="auto">
            <a:xfrm>
              <a:off x="5437904" y="4355116"/>
              <a:ext cx="288796" cy="724179"/>
            </a:xfrm>
            <a:custGeom>
              <a:avLst/>
              <a:gdLst>
                <a:gd name="T0" fmla="*/ 157777646 w 21600"/>
                <a:gd name="T1" fmla="*/ 1696050589 h 21600"/>
                <a:gd name="T2" fmla="*/ 138968573 w 21600"/>
                <a:gd name="T3" fmla="*/ 1515802112 h 21600"/>
                <a:gd name="T4" fmla="*/ 102803949 w 21600"/>
                <a:gd name="T5" fmla="*/ 1253896859 h 21600"/>
                <a:gd name="T6" fmla="*/ 95813303 w 21600"/>
                <a:gd name="T7" fmla="*/ 1019174269 h 21600"/>
                <a:gd name="T8" fmla="*/ 99962354 w 21600"/>
                <a:gd name="T9" fmla="*/ 807598156 h 21600"/>
                <a:gd name="T10" fmla="*/ 118720242 w 21600"/>
                <a:gd name="T11" fmla="*/ 749665526 h 21600"/>
                <a:gd name="T12" fmla="*/ 96295559 w 21600"/>
                <a:gd name="T13" fmla="*/ 592109098 h 21600"/>
                <a:gd name="T14" fmla="*/ 94995243 w 21600"/>
                <a:gd name="T15" fmla="*/ 300372318 h 21600"/>
                <a:gd name="T16" fmla="*/ 79078563 w 21600"/>
                <a:gd name="T17" fmla="*/ 64151284 h 21600"/>
                <a:gd name="T18" fmla="*/ 34484829 w 21600"/>
                <a:gd name="T19" fmla="*/ 0 h 21600"/>
                <a:gd name="T20" fmla="*/ 41409195 w 21600"/>
                <a:gd name="T21" fmla="*/ 253612919 h 21600"/>
                <a:gd name="T22" fmla="*/ 54491828 w 21600"/>
                <a:gd name="T23" fmla="*/ 454820635 h 21600"/>
                <a:gd name="T24" fmla="*/ 38816091 w 21600"/>
                <a:gd name="T25" fmla="*/ 656260334 h 21600"/>
                <a:gd name="T26" fmla="*/ 38816091 w 21600"/>
                <a:gd name="T27" fmla="*/ 842381876 h 21600"/>
                <a:gd name="T28" fmla="*/ 47011786 w 21600"/>
                <a:gd name="T29" fmla="*/ 995331749 h 21600"/>
                <a:gd name="T30" fmla="*/ 23630139 w 21600"/>
                <a:gd name="T31" fmla="*/ 1068007348 h 21600"/>
                <a:gd name="T32" fmla="*/ 21701871 w 21600"/>
                <a:gd name="T33" fmla="*/ 1263341999 h 21600"/>
                <a:gd name="T34" fmla="*/ 0 w 21600"/>
                <a:gd name="T35" fmla="*/ 1354214316 h 21600"/>
                <a:gd name="T36" fmla="*/ 25076519 w 21600"/>
                <a:gd name="T37" fmla="*/ 1468467477 h 21600"/>
                <a:gd name="T38" fmla="*/ 47734986 w 21600"/>
                <a:gd name="T39" fmla="*/ 1600226128 h 21600"/>
                <a:gd name="T40" fmla="*/ 85346009 w 21600"/>
                <a:gd name="T41" fmla="*/ 1592738628 h 21600"/>
                <a:gd name="T42" fmla="*/ 92584720 w 21600"/>
                <a:gd name="T43" fmla="*/ 1807654883 h 21600"/>
                <a:gd name="T44" fmla="*/ 77391239 w 21600"/>
                <a:gd name="T45" fmla="*/ 2015197244 h 21600"/>
                <a:gd name="T46" fmla="*/ 84381866 w 21600"/>
                <a:gd name="T47" fmla="*/ 2147483646 h 21600"/>
                <a:gd name="T48" fmla="*/ 103431882 w 21600"/>
                <a:gd name="T49" fmla="*/ 2147483646 h 21600"/>
                <a:gd name="T50" fmla="*/ 110663452 w 21600"/>
                <a:gd name="T51" fmla="*/ 2147483646 h 21600"/>
                <a:gd name="T52" fmla="*/ 131642123 w 21600"/>
                <a:gd name="T53" fmla="*/ 2147483646 h 21600"/>
                <a:gd name="T54" fmla="*/ 130195743 w 21600"/>
                <a:gd name="T55" fmla="*/ 2147483646 h 21600"/>
                <a:gd name="T56" fmla="*/ 153336466 w 21600"/>
                <a:gd name="T57" fmla="*/ 2098582061 h 21600"/>
                <a:gd name="T58" fmla="*/ 157777646 w 21600"/>
                <a:gd name="T59" fmla="*/ 1696050589 h 21600"/>
                <a:gd name="T60" fmla="*/ 157777646 w 21600"/>
                <a:gd name="T61" fmla="*/ 1696050589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21600" y="14726"/>
                  </a:moveTo>
                  <a:lnTo>
                    <a:pt x="19025" y="13161"/>
                  </a:lnTo>
                  <a:lnTo>
                    <a:pt x="14074" y="10887"/>
                  </a:lnTo>
                  <a:lnTo>
                    <a:pt x="13117" y="8849"/>
                  </a:lnTo>
                  <a:lnTo>
                    <a:pt x="13685" y="7012"/>
                  </a:lnTo>
                  <a:lnTo>
                    <a:pt x="16253" y="6509"/>
                  </a:lnTo>
                  <a:lnTo>
                    <a:pt x="13183" y="5141"/>
                  </a:lnTo>
                  <a:lnTo>
                    <a:pt x="13005" y="2608"/>
                  </a:lnTo>
                  <a:lnTo>
                    <a:pt x="10826" y="557"/>
                  </a:lnTo>
                  <a:lnTo>
                    <a:pt x="4721" y="0"/>
                  </a:lnTo>
                  <a:lnTo>
                    <a:pt x="5669" y="2202"/>
                  </a:lnTo>
                  <a:lnTo>
                    <a:pt x="7460" y="3949"/>
                  </a:lnTo>
                  <a:lnTo>
                    <a:pt x="5314" y="5698"/>
                  </a:lnTo>
                  <a:lnTo>
                    <a:pt x="5314" y="7314"/>
                  </a:lnTo>
                  <a:lnTo>
                    <a:pt x="6436" y="8642"/>
                  </a:lnTo>
                  <a:lnTo>
                    <a:pt x="3235" y="9273"/>
                  </a:lnTo>
                  <a:lnTo>
                    <a:pt x="2971" y="10969"/>
                  </a:lnTo>
                  <a:lnTo>
                    <a:pt x="0" y="11758"/>
                  </a:lnTo>
                  <a:lnTo>
                    <a:pt x="3433" y="12750"/>
                  </a:lnTo>
                  <a:lnTo>
                    <a:pt x="6535" y="13894"/>
                  </a:lnTo>
                  <a:lnTo>
                    <a:pt x="11684" y="13829"/>
                  </a:lnTo>
                  <a:lnTo>
                    <a:pt x="12675" y="15695"/>
                  </a:lnTo>
                  <a:lnTo>
                    <a:pt x="10595" y="17497"/>
                  </a:lnTo>
                  <a:lnTo>
                    <a:pt x="11552" y="18957"/>
                  </a:lnTo>
                  <a:lnTo>
                    <a:pt x="14160" y="20114"/>
                  </a:lnTo>
                  <a:lnTo>
                    <a:pt x="15150" y="21600"/>
                  </a:lnTo>
                  <a:lnTo>
                    <a:pt x="18022" y="20903"/>
                  </a:lnTo>
                  <a:lnTo>
                    <a:pt x="17824" y="18852"/>
                  </a:lnTo>
                  <a:lnTo>
                    <a:pt x="20992" y="18221"/>
                  </a:lnTo>
                  <a:lnTo>
                    <a:pt x="21600" y="14726"/>
                  </a:lnTo>
                  <a:close/>
                  <a:moveTo>
                    <a:pt x="21600" y="1472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9" name="Freeform 31">
              <a:extLst>
                <a:ext uri="{FF2B5EF4-FFF2-40B4-BE49-F238E27FC236}">
                  <a16:creationId xmlns:a16="http://schemas.microsoft.com/office/drawing/2014/main" id="{E15E11B2-445B-41AD-A467-06EFF6F60799}"/>
                </a:ext>
              </a:extLst>
            </p:cNvPr>
            <p:cNvSpPr>
              <a:spLocks/>
            </p:cNvSpPr>
            <p:nvPr/>
          </p:nvSpPr>
          <p:spPr bwMode="auto">
            <a:xfrm>
              <a:off x="990003" y="1892689"/>
              <a:ext cx="502111" cy="416786"/>
            </a:xfrm>
            <a:custGeom>
              <a:avLst/>
              <a:gdLst>
                <a:gd name="T0" fmla="*/ 2999794 w 21600"/>
                <a:gd name="T1" fmla="*/ 11810078 h 21600"/>
                <a:gd name="T2" fmla="*/ 2685693 w 21600"/>
                <a:gd name="T3" fmla="*/ 9595811 h 21600"/>
                <a:gd name="T4" fmla="*/ 0 w 21600"/>
                <a:gd name="T5" fmla="*/ 7179987 h 21600"/>
                <a:gd name="T6" fmla="*/ 2661809 w 21600"/>
                <a:gd name="T7" fmla="*/ 4824563 h 21600"/>
                <a:gd name="T8" fmla="*/ 4548605 w 21600"/>
                <a:gd name="T9" fmla="*/ 1986109 h 21600"/>
                <a:gd name="T10" fmla="*/ 6612945 w 21600"/>
                <a:gd name="T11" fmla="*/ 0 h 21600"/>
                <a:gd name="T12" fmla="*/ 11487053 w 21600"/>
                <a:gd name="T13" fmla="*/ 0 h 21600"/>
                <a:gd name="T14" fmla="*/ 15459813 w 21600"/>
                <a:gd name="T15" fmla="*/ 577088 h 21600"/>
                <a:gd name="T16" fmla="*/ 17612941 w 21600"/>
                <a:gd name="T17" fmla="*/ 2589883 h 21600"/>
                <a:gd name="T18" fmla="*/ 18797590 w 21600"/>
                <a:gd name="T19" fmla="*/ 4790065 h 21600"/>
                <a:gd name="T20" fmla="*/ 21725698 w 21600"/>
                <a:gd name="T21" fmla="*/ 7643388 h 21600"/>
                <a:gd name="T22" fmla="*/ 22210461 w 21600"/>
                <a:gd name="T23" fmla="*/ 10099198 h 21600"/>
                <a:gd name="T24" fmla="*/ 22403928 w 21600"/>
                <a:gd name="T25" fmla="*/ 12434237 h 21600"/>
                <a:gd name="T26" fmla="*/ 24580940 w 21600"/>
                <a:gd name="T27" fmla="*/ 13903630 h 21600"/>
                <a:gd name="T28" fmla="*/ 24572979 w 21600"/>
                <a:gd name="T29" fmla="*/ 16936528 h 21600"/>
                <a:gd name="T30" fmla="*/ 20347549 w 21600"/>
                <a:gd name="T31" fmla="*/ 16862827 h 21600"/>
                <a:gd name="T32" fmla="*/ 17516191 w 21600"/>
                <a:gd name="T33" fmla="*/ 16319453 h 21600"/>
                <a:gd name="T34" fmla="*/ 14685980 w 21600"/>
                <a:gd name="T35" fmla="*/ 15434206 h 21600"/>
                <a:gd name="T36" fmla="*/ 8177713 w 21600"/>
                <a:gd name="T37" fmla="*/ 15494577 h 21600"/>
                <a:gd name="T38" fmla="*/ 5855035 w 21600"/>
                <a:gd name="T39" fmla="*/ 16198682 h 21600"/>
                <a:gd name="T40" fmla="*/ 1475979 w 21600"/>
                <a:gd name="T41" fmla="*/ 16440197 h 21600"/>
                <a:gd name="T42" fmla="*/ 1813997 w 21600"/>
                <a:gd name="T43" fmla="*/ 13763285 h 21600"/>
                <a:gd name="T44" fmla="*/ 4984453 w 21600"/>
                <a:gd name="T45" fmla="*/ 13360255 h 21600"/>
                <a:gd name="T46" fmla="*/ 7548399 w 21600"/>
                <a:gd name="T47" fmla="*/ 12595751 h 21600"/>
                <a:gd name="T48" fmla="*/ 10113457 w 21600"/>
                <a:gd name="T49" fmla="*/ 12736124 h 21600"/>
                <a:gd name="T50" fmla="*/ 14202331 w 21600"/>
                <a:gd name="T51" fmla="*/ 13219127 h 21600"/>
                <a:gd name="T52" fmla="*/ 13011980 w 21600"/>
                <a:gd name="T53" fmla="*/ 11752842 h 21600"/>
                <a:gd name="T54" fmla="*/ 9908622 w 21600"/>
                <a:gd name="T55" fmla="*/ 11062851 h 21600"/>
                <a:gd name="T56" fmla="*/ 7807849 w 21600"/>
                <a:gd name="T57" fmla="*/ 11272976 h 21600"/>
                <a:gd name="T58" fmla="*/ 5371386 w 21600"/>
                <a:gd name="T59" fmla="*/ 11347461 h 21600"/>
                <a:gd name="T60" fmla="*/ 2999794 w 21600"/>
                <a:gd name="T61" fmla="*/ 11810078 h 21600"/>
                <a:gd name="T62" fmla="*/ 2999794 w 21600"/>
                <a:gd name="T63" fmla="*/ 11810078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600" h="21600">
                  <a:moveTo>
                    <a:pt x="2636" y="15062"/>
                  </a:moveTo>
                  <a:lnTo>
                    <a:pt x="2360" y="12238"/>
                  </a:lnTo>
                  <a:lnTo>
                    <a:pt x="0" y="9157"/>
                  </a:lnTo>
                  <a:lnTo>
                    <a:pt x="2339" y="6153"/>
                  </a:lnTo>
                  <a:lnTo>
                    <a:pt x="3997" y="2533"/>
                  </a:lnTo>
                  <a:lnTo>
                    <a:pt x="5811" y="0"/>
                  </a:lnTo>
                  <a:lnTo>
                    <a:pt x="10094" y="0"/>
                  </a:lnTo>
                  <a:lnTo>
                    <a:pt x="13585" y="736"/>
                  </a:lnTo>
                  <a:lnTo>
                    <a:pt x="15477" y="3303"/>
                  </a:lnTo>
                  <a:lnTo>
                    <a:pt x="16518" y="6109"/>
                  </a:lnTo>
                  <a:lnTo>
                    <a:pt x="19091" y="9748"/>
                  </a:lnTo>
                  <a:lnTo>
                    <a:pt x="19517" y="12880"/>
                  </a:lnTo>
                  <a:lnTo>
                    <a:pt x="19687" y="15858"/>
                  </a:lnTo>
                  <a:lnTo>
                    <a:pt x="21600" y="17732"/>
                  </a:lnTo>
                  <a:lnTo>
                    <a:pt x="21593" y="21600"/>
                  </a:lnTo>
                  <a:lnTo>
                    <a:pt x="17880" y="21506"/>
                  </a:lnTo>
                  <a:lnTo>
                    <a:pt x="15392" y="20813"/>
                  </a:lnTo>
                  <a:lnTo>
                    <a:pt x="12905" y="19684"/>
                  </a:lnTo>
                  <a:lnTo>
                    <a:pt x="7186" y="19761"/>
                  </a:lnTo>
                  <a:lnTo>
                    <a:pt x="5145" y="20659"/>
                  </a:lnTo>
                  <a:lnTo>
                    <a:pt x="1297" y="20967"/>
                  </a:lnTo>
                  <a:lnTo>
                    <a:pt x="1594" y="17553"/>
                  </a:lnTo>
                  <a:lnTo>
                    <a:pt x="4380" y="17039"/>
                  </a:lnTo>
                  <a:lnTo>
                    <a:pt x="6633" y="16064"/>
                  </a:lnTo>
                  <a:lnTo>
                    <a:pt x="8887" y="16243"/>
                  </a:lnTo>
                  <a:lnTo>
                    <a:pt x="12480" y="16859"/>
                  </a:lnTo>
                  <a:lnTo>
                    <a:pt x="11434" y="14989"/>
                  </a:lnTo>
                  <a:lnTo>
                    <a:pt x="8707" y="14109"/>
                  </a:lnTo>
                  <a:lnTo>
                    <a:pt x="6861" y="14377"/>
                  </a:lnTo>
                  <a:lnTo>
                    <a:pt x="4720" y="14472"/>
                  </a:lnTo>
                  <a:lnTo>
                    <a:pt x="2636" y="15062"/>
                  </a:lnTo>
                  <a:close/>
                  <a:moveTo>
                    <a:pt x="2636" y="15062"/>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0" name="Freeform 32">
              <a:extLst>
                <a:ext uri="{FF2B5EF4-FFF2-40B4-BE49-F238E27FC236}">
                  <a16:creationId xmlns:a16="http://schemas.microsoft.com/office/drawing/2014/main" id="{2B879F01-A280-44EC-A8AD-7C3D97D88F15}"/>
                </a:ext>
              </a:extLst>
            </p:cNvPr>
            <p:cNvSpPr>
              <a:spLocks/>
            </p:cNvSpPr>
            <p:nvPr/>
          </p:nvSpPr>
          <p:spPr bwMode="auto">
            <a:xfrm>
              <a:off x="1163937" y="2266811"/>
              <a:ext cx="615880" cy="534930"/>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0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w 21600"/>
                <a:gd name="T65" fmla="*/ 2147483646 h 21600"/>
                <a:gd name="T66" fmla="*/ 0 w 21600"/>
                <a:gd name="T67" fmla="*/ 2147483646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600" h="21600">
                  <a:moveTo>
                    <a:pt x="0" y="6536"/>
                  </a:moveTo>
                  <a:lnTo>
                    <a:pt x="1367" y="4208"/>
                  </a:lnTo>
                  <a:lnTo>
                    <a:pt x="3551" y="4127"/>
                  </a:lnTo>
                  <a:lnTo>
                    <a:pt x="3574" y="2182"/>
                  </a:lnTo>
                  <a:lnTo>
                    <a:pt x="4698" y="0"/>
                  </a:lnTo>
                  <a:lnTo>
                    <a:pt x="6690" y="799"/>
                  </a:lnTo>
                  <a:lnTo>
                    <a:pt x="11445" y="1747"/>
                  </a:lnTo>
                  <a:lnTo>
                    <a:pt x="12995" y="2740"/>
                  </a:lnTo>
                  <a:lnTo>
                    <a:pt x="14889" y="2237"/>
                  </a:lnTo>
                  <a:lnTo>
                    <a:pt x="16418" y="2716"/>
                  </a:lnTo>
                  <a:lnTo>
                    <a:pt x="17761" y="1278"/>
                  </a:lnTo>
                  <a:lnTo>
                    <a:pt x="19602" y="1318"/>
                  </a:lnTo>
                  <a:lnTo>
                    <a:pt x="19426" y="4745"/>
                  </a:lnTo>
                  <a:lnTo>
                    <a:pt x="19887" y="7452"/>
                  </a:lnTo>
                  <a:lnTo>
                    <a:pt x="20628" y="10065"/>
                  </a:lnTo>
                  <a:lnTo>
                    <a:pt x="20628" y="12129"/>
                  </a:lnTo>
                  <a:lnTo>
                    <a:pt x="21155" y="14646"/>
                  </a:lnTo>
                  <a:lnTo>
                    <a:pt x="21600" y="17075"/>
                  </a:lnTo>
                  <a:lnTo>
                    <a:pt x="19805" y="17889"/>
                  </a:lnTo>
                  <a:lnTo>
                    <a:pt x="19476" y="20294"/>
                  </a:lnTo>
                  <a:lnTo>
                    <a:pt x="16972" y="21600"/>
                  </a:lnTo>
                  <a:lnTo>
                    <a:pt x="16330" y="16810"/>
                  </a:lnTo>
                  <a:lnTo>
                    <a:pt x="14799" y="16470"/>
                  </a:lnTo>
                  <a:lnTo>
                    <a:pt x="12707" y="16432"/>
                  </a:lnTo>
                  <a:lnTo>
                    <a:pt x="12295" y="13081"/>
                  </a:lnTo>
                  <a:lnTo>
                    <a:pt x="11538" y="10866"/>
                  </a:lnTo>
                  <a:lnTo>
                    <a:pt x="8738" y="10506"/>
                  </a:lnTo>
                  <a:lnTo>
                    <a:pt x="7141" y="10998"/>
                  </a:lnTo>
                  <a:lnTo>
                    <a:pt x="6252" y="13289"/>
                  </a:lnTo>
                  <a:lnTo>
                    <a:pt x="4473" y="13781"/>
                  </a:lnTo>
                  <a:lnTo>
                    <a:pt x="3534" y="11358"/>
                  </a:lnTo>
                  <a:lnTo>
                    <a:pt x="1229" y="9370"/>
                  </a:lnTo>
                  <a:lnTo>
                    <a:pt x="0" y="6536"/>
                  </a:lnTo>
                  <a:close/>
                  <a:moveTo>
                    <a:pt x="0" y="6536"/>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1" name="Freeform 33">
              <a:extLst>
                <a:ext uri="{FF2B5EF4-FFF2-40B4-BE49-F238E27FC236}">
                  <a16:creationId xmlns:a16="http://schemas.microsoft.com/office/drawing/2014/main" id="{47F29C29-2BD8-46E8-9C2C-F522BD9A91ED}"/>
                </a:ext>
              </a:extLst>
            </p:cNvPr>
            <p:cNvSpPr>
              <a:spLocks/>
            </p:cNvSpPr>
            <p:nvPr/>
          </p:nvSpPr>
          <p:spPr bwMode="auto">
            <a:xfrm>
              <a:off x="5782491" y="1825960"/>
              <a:ext cx="594002" cy="490079"/>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0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150" y="15031"/>
                  </a:moveTo>
                  <a:lnTo>
                    <a:pt x="0" y="11875"/>
                  </a:lnTo>
                  <a:lnTo>
                    <a:pt x="468" y="8962"/>
                  </a:lnTo>
                  <a:lnTo>
                    <a:pt x="700" y="4370"/>
                  </a:lnTo>
                  <a:lnTo>
                    <a:pt x="2656" y="3985"/>
                  </a:lnTo>
                  <a:lnTo>
                    <a:pt x="2656" y="1922"/>
                  </a:lnTo>
                  <a:lnTo>
                    <a:pt x="4529" y="2064"/>
                  </a:lnTo>
                  <a:lnTo>
                    <a:pt x="5967" y="0"/>
                  </a:lnTo>
                  <a:lnTo>
                    <a:pt x="7338" y="1497"/>
                  </a:lnTo>
                  <a:lnTo>
                    <a:pt x="8023" y="4350"/>
                  </a:lnTo>
                  <a:lnTo>
                    <a:pt x="8074" y="7323"/>
                  </a:lnTo>
                  <a:lnTo>
                    <a:pt x="9578" y="9266"/>
                  </a:lnTo>
                  <a:lnTo>
                    <a:pt x="11752" y="10277"/>
                  </a:lnTo>
                  <a:lnTo>
                    <a:pt x="13658" y="12078"/>
                  </a:lnTo>
                  <a:lnTo>
                    <a:pt x="15648" y="14020"/>
                  </a:lnTo>
                  <a:lnTo>
                    <a:pt x="17520" y="16257"/>
                  </a:lnTo>
                  <a:lnTo>
                    <a:pt x="19594" y="18513"/>
                  </a:lnTo>
                  <a:lnTo>
                    <a:pt x="21600" y="21054"/>
                  </a:lnTo>
                  <a:lnTo>
                    <a:pt x="19309" y="21600"/>
                  </a:lnTo>
                  <a:lnTo>
                    <a:pt x="16450" y="18606"/>
                  </a:lnTo>
                  <a:lnTo>
                    <a:pt x="14344" y="16462"/>
                  </a:lnTo>
                  <a:lnTo>
                    <a:pt x="12003" y="14681"/>
                  </a:lnTo>
                  <a:lnTo>
                    <a:pt x="9244" y="14378"/>
                  </a:lnTo>
                  <a:lnTo>
                    <a:pt x="6000" y="13609"/>
                  </a:lnTo>
                  <a:lnTo>
                    <a:pt x="4362" y="15470"/>
                  </a:lnTo>
                  <a:lnTo>
                    <a:pt x="2640" y="14317"/>
                  </a:lnTo>
                  <a:lnTo>
                    <a:pt x="150" y="15031"/>
                  </a:lnTo>
                  <a:close/>
                  <a:moveTo>
                    <a:pt x="150" y="15031"/>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2" name="Freeform 34">
              <a:extLst>
                <a:ext uri="{FF2B5EF4-FFF2-40B4-BE49-F238E27FC236}">
                  <a16:creationId xmlns:a16="http://schemas.microsoft.com/office/drawing/2014/main" id="{217F7058-56D2-46C8-9DE0-1452E2ECA2B5}"/>
                </a:ext>
              </a:extLst>
            </p:cNvPr>
            <p:cNvSpPr>
              <a:spLocks/>
            </p:cNvSpPr>
            <p:nvPr/>
          </p:nvSpPr>
          <p:spPr bwMode="auto">
            <a:xfrm>
              <a:off x="6314138" y="4610000"/>
              <a:ext cx="694643" cy="1261296"/>
            </a:xfrm>
            <a:custGeom>
              <a:avLst/>
              <a:gdLst>
                <a:gd name="T0" fmla="*/ 0 w 21600"/>
                <a:gd name="T1" fmla="*/ 116962471 h 21600"/>
                <a:gd name="T2" fmla="*/ 986642 w 21600"/>
                <a:gd name="T3" fmla="*/ 106780006 h 21600"/>
                <a:gd name="T4" fmla="*/ 4804774 w 21600"/>
                <a:gd name="T5" fmla="*/ 100625919 h 21600"/>
                <a:gd name="T6" fmla="*/ 8193825 w 21600"/>
                <a:gd name="T7" fmla="*/ 92231472 h 21600"/>
                <a:gd name="T8" fmla="*/ 8564102 w 21600"/>
                <a:gd name="T9" fmla="*/ 83844142 h 21600"/>
                <a:gd name="T10" fmla="*/ 7947690 w 21600"/>
                <a:gd name="T11" fmla="*/ 74781858 h 21600"/>
                <a:gd name="T12" fmla="*/ 7516463 w 21600"/>
                <a:gd name="T13" fmla="*/ 62366149 h 21600"/>
                <a:gd name="T14" fmla="*/ 10350100 w 21600"/>
                <a:gd name="T15" fmla="*/ 52628824 h 21600"/>
                <a:gd name="T16" fmla="*/ 13985241 w 21600"/>
                <a:gd name="T17" fmla="*/ 46252210 h 21600"/>
                <a:gd name="T18" fmla="*/ 19406426 w 21600"/>
                <a:gd name="T19" fmla="*/ 43681447 h 21600"/>
                <a:gd name="T20" fmla="*/ 24518286 w 21600"/>
                <a:gd name="T21" fmla="*/ 39537991 h 21600"/>
                <a:gd name="T22" fmla="*/ 28811234 w 21600"/>
                <a:gd name="T23" fmla="*/ 33448646 h 21600"/>
                <a:gd name="T24" fmla="*/ 33308922 w 21600"/>
                <a:gd name="T25" fmla="*/ 24386361 h 21600"/>
                <a:gd name="T26" fmla="*/ 33555057 w 21600"/>
                <a:gd name="T27" fmla="*/ 17456732 h 21600"/>
                <a:gd name="T28" fmla="*/ 38052698 w 21600"/>
                <a:gd name="T29" fmla="*/ 20135200 h 21600"/>
                <a:gd name="T30" fmla="*/ 38730107 w 21600"/>
                <a:gd name="T31" fmla="*/ 11970568 h 21600"/>
                <a:gd name="T32" fmla="*/ 39838696 w 21600"/>
                <a:gd name="T33" fmla="*/ 5148729 h 21600"/>
                <a:gd name="T34" fmla="*/ 42487242 w 21600"/>
                <a:gd name="T35" fmla="*/ 0 h 21600"/>
                <a:gd name="T36" fmla="*/ 44765464 w 21600"/>
                <a:gd name="T37" fmla="*/ 8947377 h 21600"/>
                <a:gd name="T38" fmla="*/ 45813103 w 21600"/>
                <a:gd name="T39" fmla="*/ 20250108 h 21600"/>
                <a:gd name="T40" fmla="*/ 46490465 w 21600"/>
                <a:gd name="T41" fmla="*/ 28752345 h 21600"/>
                <a:gd name="T42" fmla="*/ 46122382 w 21600"/>
                <a:gd name="T43" fmla="*/ 36694364 h 21600"/>
                <a:gd name="T44" fmla="*/ 47045880 w 21600"/>
                <a:gd name="T45" fmla="*/ 43408499 h 21600"/>
                <a:gd name="T46" fmla="*/ 44765464 w 21600"/>
                <a:gd name="T47" fmla="*/ 47882272 h 21600"/>
                <a:gd name="T48" fmla="*/ 42548192 w 21600"/>
                <a:gd name="T49" fmla="*/ 41620481 h 21600"/>
                <a:gd name="T50" fmla="*/ 42302104 w 21600"/>
                <a:gd name="T51" fmla="*/ 50567858 h 21600"/>
                <a:gd name="T52" fmla="*/ 42918469 w 21600"/>
                <a:gd name="T53" fmla="*/ 59292708 h 21600"/>
                <a:gd name="T54" fmla="*/ 39838696 w 21600"/>
                <a:gd name="T55" fmla="*/ 61195633 h 21600"/>
                <a:gd name="T56" fmla="*/ 39037193 w 21600"/>
                <a:gd name="T57" fmla="*/ 71715619 h 21600"/>
                <a:gd name="T58" fmla="*/ 37497330 w 21600"/>
                <a:gd name="T59" fmla="*/ 80203450 h 21600"/>
                <a:gd name="T60" fmla="*/ 35033923 w 21600"/>
                <a:gd name="T61" fmla="*/ 89940775 h 21600"/>
                <a:gd name="T62" fmla="*/ 32507418 w 21600"/>
                <a:gd name="T63" fmla="*/ 99225672 h 21600"/>
                <a:gd name="T64" fmla="*/ 29612784 w 21600"/>
                <a:gd name="T65" fmla="*/ 111756373 h 21600"/>
                <a:gd name="T66" fmla="*/ 27147230 w 21600"/>
                <a:gd name="T67" fmla="*/ 121823931 h 21600"/>
                <a:gd name="T68" fmla="*/ 24805817 w 21600"/>
                <a:gd name="T69" fmla="*/ 133011754 h 21600"/>
                <a:gd name="T70" fmla="*/ 22466597 w 21600"/>
                <a:gd name="T71" fmla="*/ 141011312 h 21600"/>
                <a:gd name="T72" fmla="*/ 20064187 w 21600"/>
                <a:gd name="T73" fmla="*/ 150073597 h 21600"/>
                <a:gd name="T74" fmla="*/ 16550994 w 21600"/>
                <a:gd name="T75" fmla="*/ 151416475 h 21600"/>
                <a:gd name="T76" fmla="*/ 13286084 w 21600"/>
                <a:gd name="T77" fmla="*/ 152084227 h 21600"/>
                <a:gd name="T78" fmla="*/ 8420360 w 21600"/>
                <a:gd name="T79" fmla="*/ 155107418 h 21600"/>
                <a:gd name="T80" fmla="*/ 4846170 w 21600"/>
                <a:gd name="T81" fmla="*/ 150856342 h 21600"/>
                <a:gd name="T82" fmla="*/ 1459311 w 21600"/>
                <a:gd name="T83" fmla="*/ 145039776 h 21600"/>
                <a:gd name="T84" fmla="*/ 903896 w 21600"/>
                <a:gd name="T85" fmla="*/ 134972218 h 21600"/>
                <a:gd name="T86" fmla="*/ 1213176 w 21600"/>
                <a:gd name="T87" fmla="*/ 126017638 h 21600"/>
                <a:gd name="T88" fmla="*/ 0 w 21600"/>
                <a:gd name="T89" fmla="*/ 116962471 h 21600"/>
                <a:gd name="T90" fmla="*/ 0 w 21600"/>
                <a:gd name="T91" fmla="*/ 116962471 h 216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1600" h="21600">
                  <a:moveTo>
                    <a:pt x="0" y="16288"/>
                  </a:moveTo>
                  <a:lnTo>
                    <a:pt x="453" y="14870"/>
                  </a:lnTo>
                  <a:lnTo>
                    <a:pt x="2206" y="14013"/>
                  </a:lnTo>
                  <a:lnTo>
                    <a:pt x="3762" y="12844"/>
                  </a:lnTo>
                  <a:lnTo>
                    <a:pt x="3932" y="11676"/>
                  </a:lnTo>
                  <a:lnTo>
                    <a:pt x="3649" y="10414"/>
                  </a:lnTo>
                  <a:lnTo>
                    <a:pt x="3451" y="8685"/>
                  </a:lnTo>
                  <a:lnTo>
                    <a:pt x="4752" y="7329"/>
                  </a:lnTo>
                  <a:lnTo>
                    <a:pt x="6421" y="6441"/>
                  </a:lnTo>
                  <a:lnTo>
                    <a:pt x="8910" y="6083"/>
                  </a:lnTo>
                  <a:lnTo>
                    <a:pt x="11257" y="5506"/>
                  </a:lnTo>
                  <a:lnTo>
                    <a:pt x="13228" y="4658"/>
                  </a:lnTo>
                  <a:lnTo>
                    <a:pt x="15293" y="3396"/>
                  </a:lnTo>
                  <a:lnTo>
                    <a:pt x="15406" y="2431"/>
                  </a:lnTo>
                  <a:lnTo>
                    <a:pt x="17471" y="2804"/>
                  </a:lnTo>
                  <a:lnTo>
                    <a:pt x="17782" y="1667"/>
                  </a:lnTo>
                  <a:lnTo>
                    <a:pt x="18291" y="717"/>
                  </a:lnTo>
                  <a:lnTo>
                    <a:pt x="19507" y="0"/>
                  </a:lnTo>
                  <a:lnTo>
                    <a:pt x="20553" y="1246"/>
                  </a:lnTo>
                  <a:lnTo>
                    <a:pt x="21034" y="2820"/>
                  </a:lnTo>
                  <a:lnTo>
                    <a:pt x="21345" y="4004"/>
                  </a:lnTo>
                  <a:lnTo>
                    <a:pt x="21176" y="5110"/>
                  </a:lnTo>
                  <a:lnTo>
                    <a:pt x="21600" y="6045"/>
                  </a:lnTo>
                  <a:lnTo>
                    <a:pt x="20553" y="6668"/>
                  </a:lnTo>
                  <a:lnTo>
                    <a:pt x="19535" y="5796"/>
                  </a:lnTo>
                  <a:lnTo>
                    <a:pt x="19422" y="7042"/>
                  </a:lnTo>
                  <a:lnTo>
                    <a:pt x="19705" y="8257"/>
                  </a:lnTo>
                  <a:lnTo>
                    <a:pt x="18291" y="8522"/>
                  </a:lnTo>
                  <a:lnTo>
                    <a:pt x="17923" y="9987"/>
                  </a:lnTo>
                  <a:lnTo>
                    <a:pt x="17216" y="11169"/>
                  </a:lnTo>
                  <a:lnTo>
                    <a:pt x="16085" y="12525"/>
                  </a:lnTo>
                  <a:lnTo>
                    <a:pt x="14925" y="13818"/>
                  </a:lnTo>
                  <a:lnTo>
                    <a:pt x="13596" y="15563"/>
                  </a:lnTo>
                  <a:lnTo>
                    <a:pt x="12464" y="16965"/>
                  </a:lnTo>
                  <a:lnTo>
                    <a:pt x="11389" y="18523"/>
                  </a:lnTo>
                  <a:lnTo>
                    <a:pt x="10315" y="19637"/>
                  </a:lnTo>
                  <a:lnTo>
                    <a:pt x="9212" y="20899"/>
                  </a:lnTo>
                  <a:lnTo>
                    <a:pt x="7599" y="21086"/>
                  </a:lnTo>
                  <a:lnTo>
                    <a:pt x="6100" y="21179"/>
                  </a:lnTo>
                  <a:lnTo>
                    <a:pt x="3866" y="21600"/>
                  </a:lnTo>
                  <a:lnTo>
                    <a:pt x="2225" y="21008"/>
                  </a:lnTo>
                  <a:lnTo>
                    <a:pt x="670" y="20198"/>
                  </a:lnTo>
                  <a:lnTo>
                    <a:pt x="415" y="18796"/>
                  </a:lnTo>
                  <a:lnTo>
                    <a:pt x="557" y="17549"/>
                  </a:lnTo>
                  <a:lnTo>
                    <a:pt x="0" y="16288"/>
                  </a:lnTo>
                  <a:close/>
                  <a:moveTo>
                    <a:pt x="0" y="16288"/>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3" name="Freeform 35">
              <a:extLst>
                <a:ext uri="{FF2B5EF4-FFF2-40B4-BE49-F238E27FC236}">
                  <a16:creationId xmlns:a16="http://schemas.microsoft.com/office/drawing/2014/main" id="{A6EC5CCB-0076-4251-A563-72B491B9DA22}"/>
                </a:ext>
              </a:extLst>
            </p:cNvPr>
            <p:cNvSpPr>
              <a:spLocks/>
            </p:cNvSpPr>
            <p:nvPr/>
          </p:nvSpPr>
          <p:spPr bwMode="auto">
            <a:xfrm>
              <a:off x="2552129" y="2346669"/>
              <a:ext cx="278951" cy="56337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600" h="21600">
                  <a:moveTo>
                    <a:pt x="12616" y="21156"/>
                  </a:moveTo>
                  <a:lnTo>
                    <a:pt x="12976" y="17838"/>
                  </a:lnTo>
                  <a:lnTo>
                    <a:pt x="13367" y="14303"/>
                  </a:lnTo>
                  <a:lnTo>
                    <a:pt x="14278" y="11503"/>
                  </a:lnTo>
                  <a:lnTo>
                    <a:pt x="19959" y="8143"/>
                  </a:lnTo>
                  <a:lnTo>
                    <a:pt x="21600" y="5787"/>
                  </a:lnTo>
                  <a:lnTo>
                    <a:pt x="19510" y="4000"/>
                  </a:lnTo>
                  <a:lnTo>
                    <a:pt x="19992" y="1493"/>
                  </a:lnTo>
                  <a:lnTo>
                    <a:pt x="15543" y="0"/>
                  </a:lnTo>
                  <a:lnTo>
                    <a:pt x="10988" y="187"/>
                  </a:lnTo>
                  <a:lnTo>
                    <a:pt x="10137" y="2882"/>
                  </a:lnTo>
                  <a:lnTo>
                    <a:pt x="5655" y="2831"/>
                  </a:lnTo>
                  <a:lnTo>
                    <a:pt x="1126" y="4667"/>
                  </a:lnTo>
                  <a:lnTo>
                    <a:pt x="0" y="6533"/>
                  </a:lnTo>
                  <a:lnTo>
                    <a:pt x="3755" y="8134"/>
                  </a:lnTo>
                  <a:lnTo>
                    <a:pt x="4609" y="10347"/>
                  </a:lnTo>
                  <a:lnTo>
                    <a:pt x="5044" y="13423"/>
                  </a:lnTo>
                  <a:lnTo>
                    <a:pt x="5038" y="17333"/>
                  </a:lnTo>
                  <a:lnTo>
                    <a:pt x="5038" y="19707"/>
                  </a:lnTo>
                  <a:lnTo>
                    <a:pt x="5949" y="21600"/>
                  </a:lnTo>
                  <a:lnTo>
                    <a:pt x="12616" y="21156"/>
                  </a:lnTo>
                  <a:close/>
                  <a:moveTo>
                    <a:pt x="12616" y="21156"/>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4" name="Freeform 36">
              <a:extLst>
                <a:ext uri="{FF2B5EF4-FFF2-40B4-BE49-F238E27FC236}">
                  <a16:creationId xmlns:a16="http://schemas.microsoft.com/office/drawing/2014/main" id="{34DBF8F6-AEB7-4FD0-AFE7-4138BEF090E2}"/>
                </a:ext>
              </a:extLst>
            </p:cNvPr>
            <p:cNvSpPr>
              <a:spLocks/>
            </p:cNvSpPr>
            <p:nvPr/>
          </p:nvSpPr>
          <p:spPr bwMode="auto">
            <a:xfrm>
              <a:off x="1439607" y="2675940"/>
              <a:ext cx="352244" cy="398189"/>
            </a:xfrm>
            <a:custGeom>
              <a:avLst/>
              <a:gdLst>
                <a:gd name="T0" fmla="*/ 0 w 21600"/>
                <a:gd name="T1" fmla="*/ 5835001 h 21600"/>
                <a:gd name="T2" fmla="*/ 1800590 w 21600"/>
                <a:gd name="T3" fmla="*/ 3566271 h 21600"/>
                <a:gd name="T4" fmla="*/ 2839482 w 21600"/>
                <a:gd name="T5" fmla="*/ 2296633 h 21600"/>
                <a:gd name="T6" fmla="*/ 4068243 w 21600"/>
                <a:gd name="T7" fmla="*/ 0 h 21600"/>
                <a:gd name="T8" fmla="*/ 6467523 w 21600"/>
                <a:gd name="T9" fmla="*/ 237614 h 21600"/>
                <a:gd name="T10" fmla="*/ 7280741 w 21600"/>
                <a:gd name="T11" fmla="*/ 2699576 h 21600"/>
                <a:gd name="T12" fmla="*/ 7037673 w 21600"/>
                <a:gd name="T13" fmla="*/ 5065631 h 21600"/>
                <a:gd name="T14" fmla="*/ 9533272 w 21600"/>
                <a:gd name="T15" fmla="*/ 3554099 h 21600"/>
                <a:gd name="T16" fmla="*/ 9801544 w 21600"/>
                <a:gd name="T17" fmla="*/ 6006028 h 21600"/>
                <a:gd name="T18" fmla="*/ 9137324 w 21600"/>
                <a:gd name="T19" fmla="*/ 7680750 h 21600"/>
                <a:gd name="T20" fmla="*/ 11191041 w 21600"/>
                <a:gd name="T21" fmla="*/ 8655497 h 21600"/>
                <a:gd name="T22" fmla="*/ 12097217 w 21600"/>
                <a:gd name="T23" fmla="*/ 10501273 h 21600"/>
                <a:gd name="T24" fmla="*/ 11924719 w 21600"/>
                <a:gd name="T25" fmla="*/ 12911710 h 21600"/>
                <a:gd name="T26" fmla="*/ 11758374 w 21600"/>
                <a:gd name="T27" fmla="*/ 15458825 h 21600"/>
                <a:gd name="T28" fmla="*/ 9523190 w 21600"/>
                <a:gd name="T29" fmla="*/ 14364548 h 21600"/>
                <a:gd name="T30" fmla="*/ 6789564 w 21600"/>
                <a:gd name="T31" fmla="*/ 12740656 h 21600"/>
                <a:gd name="T32" fmla="*/ 5158679 w 21600"/>
                <a:gd name="T33" fmla="*/ 10706678 h 21600"/>
                <a:gd name="T34" fmla="*/ 4086181 w 21600"/>
                <a:gd name="T35" fmla="*/ 9031234 h 21600"/>
                <a:gd name="T36" fmla="*/ 2032441 w 21600"/>
                <a:gd name="T37" fmla="*/ 8467295 h 21600"/>
                <a:gd name="T38" fmla="*/ 1065776 w 21600"/>
                <a:gd name="T39" fmla="*/ 7065982 h 21600"/>
                <a:gd name="T40" fmla="*/ 0 w 21600"/>
                <a:gd name="T41" fmla="*/ 5835001 h 21600"/>
                <a:gd name="T42" fmla="*/ 0 w 21600"/>
                <a:gd name="T43" fmla="*/ 5835001 h 216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600" h="21600">
                  <a:moveTo>
                    <a:pt x="0" y="8153"/>
                  </a:moveTo>
                  <a:lnTo>
                    <a:pt x="3215" y="4983"/>
                  </a:lnTo>
                  <a:lnTo>
                    <a:pt x="5070" y="3209"/>
                  </a:lnTo>
                  <a:lnTo>
                    <a:pt x="7264" y="0"/>
                  </a:lnTo>
                  <a:lnTo>
                    <a:pt x="11548" y="332"/>
                  </a:lnTo>
                  <a:lnTo>
                    <a:pt x="13000" y="3772"/>
                  </a:lnTo>
                  <a:lnTo>
                    <a:pt x="12566" y="7078"/>
                  </a:lnTo>
                  <a:lnTo>
                    <a:pt x="17022" y="4966"/>
                  </a:lnTo>
                  <a:lnTo>
                    <a:pt x="17501" y="8392"/>
                  </a:lnTo>
                  <a:lnTo>
                    <a:pt x="16315" y="10732"/>
                  </a:lnTo>
                  <a:lnTo>
                    <a:pt x="19982" y="12094"/>
                  </a:lnTo>
                  <a:lnTo>
                    <a:pt x="21600" y="14673"/>
                  </a:lnTo>
                  <a:lnTo>
                    <a:pt x="21292" y="18041"/>
                  </a:lnTo>
                  <a:lnTo>
                    <a:pt x="20995" y="21600"/>
                  </a:lnTo>
                  <a:lnTo>
                    <a:pt x="17004" y="20071"/>
                  </a:lnTo>
                  <a:lnTo>
                    <a:pt x="12123" y="17802"/>
                  </a:lnTo>
                  <a:lnTo>
                    <a:pt x="9211" y="14960"/>
                  </a:lnTo>
                  <a:lnTo>
                    <a:pt x="7296" y="12619"/>
                  </a:lnTo>
                  <a:lnTo>
                    <a:pt x="3629" y="11831"/>
                  </a:lnTo>
                  <a:lnTo>
                    <a:pt x="1903" y="9873"/>
                  </a:lnTo>
                  <a:lnTo>
                    <a:pt x="0" y="8153"/>
                  </a:lnTo>
                  <a:close/>
                  <a:moveTo>
                    <a:pt x="0" y="8153"/>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5" name="Freeform 37">
              <a:extLst>
                <a:ext uri="{FF2B5EF4-FFF2-40B4-BE49-F238E27FC236}">
                  <a16:creationId xmlns:a16="http://schemas.microsoft.com/office/drawing/2014/main" id="{7C7546D7-235C-4217-A87A-46F302D0B695}"/>
                </a:ext>
              </a:extLst>
            </p:cNvPr>
            <p:cNvSpPr>
              <a:spLocks/>
            </p:cNvSpPr>
            <p:nvPr/>
          </p:nvSpPr>
          <p:spPr bwMode="auto">
            <a:xfrm>
              <a:off x="3303656" y="94276"/>
              <a:ext cx="313957" cy="64651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0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8626" y="21600"/>
                  </a:moveTo>
                  <a:lnTo>
                    <a:pt x="8493" y="18959"/>
                  </a:lnTo>
                  <a:lnTo>
                    <a:pt x="8283" y="15901"/>
                  </a:lnTo>
                  <a:lnTo>
                    <a:pt x="5557" y="14678"/>
                  </a:lnTo>
                  <a:lnTo>
                    <a:pt x="2831" y="12843"/>
                  </a:lnTo>
                  <a:lnTo>
                    <a:pt x="419" y="11671"/>
                  </a:lnTo>
                  <a:lnTo>
                    <a:pt x="0" y="9683"/>
                  </a:lnTo>
                  <a:lnTo>
                    <a:pt x="3984" y="7798"/>
                  </a:lnTo>
                  <a:lnTo>
                    <a:pt x="5243" y="5300"/>
                  </a:lnTo>
                  <a:lnTo>
                    <a:pt x="5138" y="3313"/>
                  </a:lnTo>
                  <a:lnTo>
                    <a:pt x="7864" y="1478"/>
                  </a:lnTo>
                  <a:lnTo>
                    <a:pt x="10905" y="204"/>
                  </a:lnTo>
                  <a:lnTo>
                    <a:pt x="14680" y="0"/>
                  </a:lnTo>
                  <a:lnTo>
                    <a:pt x="17720" y="866"/>
                  </a:lnTo>
                  <a:lnTo>
                    <a:pt x="17091" y="2446"/>
                  </a:lnTo>
                  <a:lnTo>
                    <a:pt x="21181" y="1223"/>
                  </a:lnTo>
                  <a:lnTo>
                    <a:pt x="19083" y="2956"/>
                  </a:lnTo>
                  <a:lnTo>
                    <a:pt x="17930" y="4332"/>
                  </a:lnTo>
                  <a:lnTo>
                    <a:pt x="19817" y="5861"/>
                  </a:lnTo>
                  <a:lnTo>
                    <a:pt x="19188" y="7492"/>
                  </a:lnTo>
                  <a:lnTo>
                    <a:pt x="17301" y="8664"/>
                  </a:lnTo>
                  <a:lnTo>
                    <a:pt x="14155" y="9327"/>
                  </a:lnTo>
                  <a:lnTo>
                    <a:pt x="15099" y="11161"/>
                  </a:lnTo>
                  <a:lnTo>
                    <a:pt x="18454" y="11467"/>
                  </a:lnTo>
                  <a:lnTo>
                    <a:pt x="21600" y="12792"/>
                  </a:lnTo>
                  <a:lnTo>
                    <a:pt x="21161" y="14969"/>
                  </a:lnTo>
                  <a:lnTo>
                    <a:pt x="17648" y="15811"/>
                  </a:lnTo>
                  <a:lnTo>
                    <a:pt x="13432" y="16950"/>
                  </a:lnTo>
                  <a:lnTo>
                    <a:pt x="13717" y="20115"/>
                  </a:lnTo>
                  <a:lnTo>
                    <a:pt x="8626" y="21600"/>
                  </a:lnTo>
                  <a:close/>
                  <a:moveTo>
                    <a:pt x="8626"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6" name="Freeform 38">
              <a:extLst>
                <a:ext uri="{FF2B5EF4-FFF2-40B4-BE49-F238E27FC236}">
                  <a16:creationId xmlns:a16="http://schemas.microsoft.com/office/drawing/2014/main" id="{EBDDE2CA-7AA4-4EAD-854A-97C3E61FEC74}"/>
                </a:ext>
              </a:extLst>
            </p:cNvPr>
            <p:cNvSpPr>
              <a:spLocks/>
            </p:cNvSpPr>
            <p:nvPr/>
          </p:nvSpPr>
          <p:spPr bwMode="auto">
            <a:xfrm>
              <a:off x="6272569" y="2307287"/>
              <a:ext cx="143305" cy="156431"/>
            </a:xfrm>
            <a:custGeom>
              <a:avLst/>
              <a:gdLst>
                <a:gd name="T0" fmla="*/ 2147483646 w 21600"/>
                <a:gd name="T1" fmla="*/ 2147483646 h 21600"/>
                <a:gd name="T2" fmla="*/ 2147483646 w 21600"/>
                <a:gd name="T3" fmla="*/ 2147483646 h 21600"/>
                <a:gd name="T4" fmla="*/ 1017160368 w 21600"/>
                <a:gd name="T5" fmla="*/ 2147483646 h 21600"/>
                <a:gd name="T6" fmla="*/ 0 w 21600"/>
                <a:gd name="T7" fmla="*/ 2147483646 h 21600"/>
                <a:gd name="T8" fmla="*/ 2147483646 w 21600"/>
                <a:gd name="T9" fmla="*/ 2147483646 h 21600"/>
                <a:gd name="T10" fmla="*/ 2147483646 w 21600"/>
                <a:gd name="T11" fmla="*/ 1958131418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19791" y="16757"/>
                  </a:moveTo>
                  <a:lnTo>
                    <a:pt x="14365" y="20825"/>
                  </a:lnTo>
                  <a:lnTo>
                    <a:pt x="1277" y="21600"/>
                  </a:lnTo>
                  <a:lnTo>
                    <a:pt x="0" y="13948"/>
                  </a:lnTo>
                  <a:lnTo>
                    <a:pt x="3192" y="7846"/>
                  </a:lnTo>
                  <a:lnTo>
                    <a:pt x="5639" y="1453"/>
                  </a:lnTo>
                  <a:lnTo>
                    <a:pt x="15641" y="0"/>
                  </a:lnTo>
                  <a:lnTo>
                    <a:pt x="21600" y="3584"/>
                  </a:lnTo>
                  <a:lnTo>
                    <a:pt x="15854" y="8621"/>
                  </a:lnTo>
                  <a:lnTo>
                    <a:pt x="7661" y="13561"/>
                  </a:lnTo>
                  <a:lnTo>
                    <a:pt x="19791" y="16757"/>
                  </a:lnTo>
                  <a:close/>
                  <a:moveTo>
                    <a:pt x="19791" y="16757"/>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7" name="Freeform 39">
              <a:extLst>
                <a:ext uri="{FF2B5EF4-FFF2-40B4-BE49-F238E27FC236}">
                  <a16:creationId xmlns:a16="http://schemas.microsoft.com/office/drawing/2014/main" id="{BBF41DAD-1905-47BE-96EA-2886B833207F}"/>
                </a:ext>
              </a:extLst>
            </p:cNvPr>
            <p:cNvSpPr>
              <a:spLocks/>
            </p:cNvSpPr>
            <p:nvPr/>
          </p:nvSpPr>
          <p:spPr bwMode="auto">
            <a:xfrm>
              <a:off x="5116290" y="3591556"/>
              <a:ext cx="190343" cy="164089"/>
            </a:xfrm>
            <a:custGeom>
              <a:avLst/>
              <a:gdLst>
                <a:gd name="T0" fmla="*/ 0 w 21600"/>
                <a:gd name="T1" fmla="*/ 2356203 h 21600"/>
                <a:gd name="T2" fmla="*/ 143918 w 21600"/>
                <a:gd name="T3" fmla="*/ 1184606 h 21600"/>
                <a:gd name="T4" fmla="*/ 975010 w 21600"/>
                <a:gd name="T5" fmla="*/ 550675 h 21600"/>
                <a:gd name="T6" fmla="*/ 1913715 w 21600"/>
                <a:gd name="T7" fmla="*/ 331909 h 21600"/>
                <a:gd name="T8" fmla="*/ 3068630 w 21600"/>
                <a:gd name="T9" fmla="*/ 0 h 21600"/>
                <a:gd name="T10" fmla="*/ 3453426 w 21600"/>
                <a:gd name="T11" fmla="*/ 769441 h 21600"/>
                <a:gd name="T12" fmla="*/ 3532419 w 21600"/>
                <a:gd name="T13" fmla="*/ 1570600 h 21600"/>
                <a:gd name="T14" fmla="*/ 1878726 w 21600"/>
                <a:gd name="T15" fmla="*/ 1689706 h 21600"/>
                <a:gd name="T16" fmla="*/ 1756395 w 21600"/>
                <a:gd name="T17" fmla="*/ 2625163 h 21600"/>
                <a:gd name="T18" fmla="*/ 0 w 21600"/>
                <a:gd name="T19" fmla="*/ 2356203 h 21600"/>
                <a:gd name="T20" fmla="*/ 0 w 21600"/>
                <a:gd name="T21" fmla="*/ 2356203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0" y="19387"/>
                  </a:moveTo>
                  <a:lnTo>
                    <a:pt x="880" y="9747"/>
                  </a:lnTo>
                  <a:lnTo>
                    <a:pt x="5962" y="4531"/>
                  </a:lnTo>
                  <a:lnTo>
                    <a:pt x="11702" y="2731"/>
                  </a:lnTo>
                  <a:lnTo>
                    <a:pt x="18764" y="0"/>
                  </a:lnTo>
                  <a:lnTo>
                    <a:pt x="21117" y="6331"/>
                  </a:lnTo>
                  <a:lnTo>
                    <a:pt x="21600" y="12923"/>
                  </a:lnTo>
                  <a:lnTo>
                    <a:pt x="11488" y="13903"/>
                  </a:lnTo>
                  <a:lnTo>
                    <a:pt x="10740" y="21600"/>
                  </a:lnTo>
                  <a:lnTo>
                    <a:pt x="0" y="19387"/>
                  </a:lnTo>
                  <a:close/>
                  <a:moveTo>
                    <a:pt x="0" y="19387"/>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8" name="Freeform 40">
              <a:extLst>
                <a:ext uri="{FF2B5EF4-FFF2-40B4-BE49-F238E27FC236}">
                  <a16:creationId xmlns:a16="http://schemas.microsoft.com/office/drawing/2014/main" id="{CD46EC61-751D-4CC7-A6E7-4753C7D4CC85}"/>
                </a:ext>
              </a:extLst>
            </p:cNvPr>
            <p:cNvSpPr>
              <a:spLocks/>
            </p:cNvSpPr>
            <p:nvPr/>
          </p:nvSpPr>
          <p:spPr bwMode="auto">
            <a:xfrm>
              <a:off x="5129417" y="3690009"/>
              <a:ext cx="179404" cy="200188"/>
            </a:xfrm>
            <a:custGeom>
              <a:avLst/>
              <a:gdLst>
                <a:gd name="T0" fmla="*/ 482045 w 21600"/>
                <a:gd name="T1" fmla="*/ 3876883 h 21600"/>
                <a:gd name="T2" fmla="*/ 200048 w 21600"/>
                <a:gd name="T3" fmla="*/ 2540810 h 21600"/>
                <a:gd name="T4" fmla="*/ 0 w 21600"/>
                <a:gd name="T5" fmla="*/ 1062924 h 21600"/>
                <a:gd name="T6" fmla="*/ 1391643 w 21600"/>
                <a:gd name="T7" fmla="*/ 1245086 h 21600"/>
                <a:gd name="T8" fmla="*/ 1537210 w 21600"/>
                <a:gd name="T9" fmla="*/ 182162 h 21600"/>
                <a:gd name="T10" fmla="*/ 3138061 w 21600"/>
                <a:gd name="T11" fmla="*/ 0 h 21600"/>
                <a:gd name="T12" fmla="*/ 2528613 w 21600"/>
                <a:gd name="T13" fmla="*/ 830111 h 21600"/>
                <a:gd name="T14" fmla="*/ 2856076 w 21600"/>
                <a:gd name="T15" fmla="*/ 2065070 h 21600"/>
                <a:gd name="T16" fmla="*/ 2537762 w 21600"/>
                <a:gd name="T17" fmla="*/ 3056899 h 21600"/>
                <a:gd name="T18" fmla="*/ 1755422 w 21600"/>
                <a:gd name="T19" fmla="*/ 3907279 h 21600"/>
                <a:gd name="T20" fmla="*/ 482045 w 21600"/>
                <a:gd name="T21" fmla="*/ 3876883 h 21600"/>
                <a:gd name="T22" fmla="*/ 482045 w 21600"/>
                <a:gd name="T23" fmla="*/ 3876883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3318" y="21432"/>
                  </a:moveTo>
                  <a:lnTo>
                    <a:pt x="1377" y="14046"/>
                  </a:lnTo>
                  <a:lnTo>
                    <a:pt x="0" y="5876"/>
                  </a:lnTo>
                  <a:lnTo>
                    <a:pt x="9579" y="6883"/>
                  </a:lnTo>
                  <a:lnTo>
                    <a:pt x="10581" y="1007"/>
                  </a:lnTo>
                  <a:lnTo>
                    <a:pt x="21600" y="0"/>
                  </a:lnTo>
                  <a:lnTo>
                    <a:pt x="17405" y="4589"/>
                  </a:lnTo>
                  <a:lnTo>
                    <a:pt x="19659" y="11416"/>
                  </a:lnTo>
                  <a:lnTo>
                    <a:pt x="17468" y="16899"/>
                  </a:lnTo>
                  <a:lnTo>
                    <a:pt x="12083" y="21600"/>
                  </a:lnTo>
                  <a:lnTo>
                    <a:pt x="3318" y="21432"/>
                  </a:lnTo>
                  <a:close/>
                  <a:moveTo>
                    <a:pt x="3318" y="21432"/>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9" name="Freeform 41">
              <a:extLst>
                <a:ext uri="{FF2B5EF4-FFF2-40B4-BE49-F238E27FC236}">
                  <a16:creationId xmlns:a16="http://schemas.microsoft.com/office/drawing/2014/main" id="{9DF8ECDD-BEB9-45EF-8759-FAD79D24BCF4}"/>
                </a:ext>
              </a:extLst>
            </p:cNvPr>
            <p:cNvSpPr>
              <a:spLocks/>
            </p:cNvSpPr>
            <p:nvPr/>
          </p:nvSpPr>
          <p:spPr bwMode="auto">
            <a:xfrm>
              <a:off x="3341943" y="3266659"/>
              <a:ext cx="157525" cy="127990"/>
            </a:xfrm>
            <a:custGeom>
              <a:avLst/>
              <a:gdLst>
                <a:gd name="T0" fmla="*/ 0 w 21600"/>
                <a:gd name="T1" fmla="*/ 2147483646 h 21600"/>
                <a:gd name="T2" fmla="*/ 2147483646 w 21600"/>
                <a:gd name="T3" fmla="*/ 2147483646 h 21600"/>
                <a:gd name="T4" fmla="*/ 2147483646 w 21600"/>
                <a:gd name="T5" fmla="*/ 352942925 h 21600"/>
                <a:gd name="T6" fmla="*/ 2147483646 w 21600"/>
                <a:gd name="T7" fmla="*/ 0 h 21600"/>
                <a:gd name="T8" fmla="*/ 2006611695 w 21600"/>
                <a:gd name="T9" fmla="*/ 2147483646 h 21600"/>
                <a:gd name="T10" fmla="*/ 0 w 21600"/>
                <a:gd name="T11" fmla="*/ 2147483646 h 21600"/>
                <a:gd name="T12" fmla="*/ 0 w 21600"/>
                <a:gd name="T13" fmla="*/ 2147483646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0" y="21600"/>
                  </a:moveTo>
                  <a:lnTo>
                    <a:pt x="21154" y="21055"/>
                  </a:lnTo>
                  <a:lnTo>
                    <a:pt x="21600" y="873"/>
                  </a:lnTo>
                  <a:lnTo>
                    <a:pt x="3927" y="0"/>
                  </a:lnTo>
                  <a:lnTo>
                    <a:pt x="1428" y="9164"/>
                  </a:lnTo>
                  <a:lnTo>
                    <a:pt x="0" y="21600"/>
                  </a:lnTo>
                  <a:close/>
                  <a:moveTo>
                    <a:pt x="0"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0" name="Freeform 42">
              <a:extLst>
                <a:ext uri="{FF2B5EF4-FFF2-40B4-BE49-F238E27FC236}">
                  <a16:creationId xmlns:a16="http://schemas.microsoft.com/office/drawing/2014/main" id="{8C045C25-1BBD-4B04-A960-4E4CE6B59DE7}"/>
                </a:ext>
              </a:extLst>
            </p:cNvPr>
            <p:cNvSpPr>
              <a:spLocks/>
            </p:cNvSpPr>
            <p:nvPr/>
          </p:nvSpPr>
          <p:spPr bwMode="auto">
            <a:xfrm>
              <a:off x="2478836" y="2458249"/>
              <a:ext cx="147680" cy="45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390197715 w 21600"/>
                <a:gd name="T17" fmla="*/ 0 h 21600"/>
                <a:gd name="T18" fmla="*/ 0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600" h="21600">
                  <a:moveTo>
                    <a:pt x="21600" y="21567"/>
                  </a:moveTo>
                  <a:lnTo>
                    <a:pt x="21191" y="17500"/>
                  </a:lnTo>
                  <a:lnTo>
                    <a:pt x="21191" y="13467"/>
                  </a:lnTo>
                  <a:lnTo>
                    <a:pt x="19553" y="9900"/>
                  </a:lnTo>
                  <a:lnTo>
                    <a:pt x="19246" y="7233"/>
                  </a:lnTo>
                  <a:lnTo>
                    <a:pt x="18427" y="4833"/>
                  </a:lnTo>
                  <a:lnTo>
                    <a:pt x="11158" y="3200"/>
                  </a:lnTo>
                  <a:lnTo>
                    <a:pt x="13643" y="3"/>
                  </a:lnTo>
                  <a:lnTo>
                    <a:pt x="409" y="0"/>
                  </a:lnTo>
                  <a:lnTo>
                    <a:pt x="0" y="2233"/>
                  </a:lnTo>
                  <a:lnTo>
                    <a:pt x="6142" y="4367"/>
                  </a:lnTo>
                  <a:lnTo>
                    <a:pt x="3788" y="7333"/>
                  </a:lnTo>
                  <a:lnTo>
                    <a:pt x="6347" y="11367"/>
                  </a:lnTo>
                  <a:lnTo>
                    <a:pt x="6449" y="14700"/>
                  </a:lnTo>
                  <a:lnTo>
                    <a:pt x="6654" y="19267"/>
                  </a:lnTo>
                  <a:lnTo>
                    <a:pt x="11977" y="21600"/>
                  </a:lnTo>
                  <a:lnTo>
                    <a:pt x="21600" y="21567"/>
                  </a:lnTo>
                  <a:close/>
                  <a:moveTo>
                    <a:pt x="21600" y="21567"/>
                  </a:moveTo>
                </a:path>
              </a:pathLst>
            </a:custGeom>
            <a:solidFill>
              <a:srgbClr val="FFCA08"/>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1" name="Freeform 43">
              <a:extLst>
                <a:ext uri="{FF2B5EF4-FFF2-40B4-BE49-F238E27FC236}">
                  <a16:creationId xmlns:a16="http://schemas.microsoft.com/office/drawing/2014/main" id="{871A151F-C01D-46BE-AE56-0997069E64D7}"/>
                </a:ext>
              </a:extLst>
            </p:cNvPr>
            <p:cNvSpPr>
              <a:spLocks/>
            </p:cNvSpPr>
            <p:nvPr/>
          </p:nvSpPr>
          <p:spPr bwMode="auto">
            <a:xfrm>
              <a:off x="1289739" y="2524978"/>
              <a:ext cx="276763" cy="298642"/>
            </a:xfrm>
            <a:custGeom>
              <a:avLst/>
              <a:gdLst>
                <a:gd name="T0" fmla="*/ 4072227 w 21600"/>
                <a:gd name="T1" fmla="*/ 8695609 h 21600"/>
                <a:gd name="T2" fmla="*/ 5445194 w 21600"/>
                <a:gd name="T3" fmla="*/ 7293438 h 21600"/>
                <a:gd name="T4" fmla="*/ 6325467 w 21600"/>
                <a:gd name="T5" fmla="*/ 5898932 h 21600"/>
                <a:gd name="T6" fmla="*/ 7468161 w 21600"/>
                <a:gd name="T7" fmla="*/ 4630811 h 21600"/>
                <a:gd name="T8" fmla="*/ 6293317 w 21600"/>
                <a:gd name="T9" fmla="*/ 4109883 h 21600"/>
                <a:gd name="T10" fmla="*/ 6234875 w 21600"/>
                <a:gd name="T11" fmla="*/ 1954500 h 21600"/>
                <a:gd name="T12" fmla="*/ 5396793 w 21600"/>
                <a:gd name="T13" fmla="*/ 140490 h 21600"/>
                <a:gd name="T14" fmla="*/ 3493442 w 21600"/>
                <a:gd name="T15" fmla="*/ 0 h 21600"/>
                <a:gd name="T16" fmla="*/ 2170253 w 21600"/>
                <a:gd name="T17" fmla="*/ 350242 h 21600"/>
                <a:gd name="T18" fmla="*/ 1464580 w 21600"/>
                <a:gd name="T19" fmla="*/ 1990736 h 21600"/>
                <a:gd name="T20" fmla="*/ 0 w 21600"/>
                <a:gd name="T21" fmla="*/ 2494349 h 21600"/>
                <a:gd name="T22" fmla="*/ 161120 w 21600"/>
                <a:gd name="T23" fmla="*/ 4648126 h 21600"/>
                <a:gd name="T24" fmla="*/ 949072 w 21600"/>
                <a:gd name="T25" fmla="*/ 6398512 h 21600"/>
                <a:gd name="T26" fmla="*/ 2204485 w 21600"/>
                <a:gd name="T27" fmla="*/ 7770486 h 21600"/>
                <a:gd name="T28" fmla="*/ 4072227 w 21600"/>
                <a:gd name="T29" fmla="*/ 8695609 h 21600"/>
                <a:gd name="T30" fmla="*/ 4072227 w 21600"/>
                <a:gd name="T31" fmla="*/ 8695609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11778" y="21600"/>
                  </a:moveTo>
                  <a:lnTo>
                    <a:pt x="15749" y="18117"/>
                  </a:lnTo>
                  <a:lnTo>
                    <a:pt x="18295" y="14653"/>
                  </a:lnTo>
                  <a:lnTo>
                    <a:pt x="21600" y="11503"/>
                  </a:lnTo>
                  <a:lnTo>
                    <a:pt x="18202" y="10209"/>
                  </a:lnTo>
                  <a:lnTo>
                    <a:pt x="18033" y="4855"/>
                  </a:lnTo>
                  <a:lnTo>
                    <a:pt x="15609" y="349"/>
                  </a:lnTo>
                  <a:lnTo>
                    <a:pt x="10104" y="0"/>
                  </a:lnTo>
                  <a:lnTo>
                    <a:pt x="6277" y="870"/>
                  </a:lnTo>
                  <a:lnTo>
                    <a:pt x="4236" y="4945"/>
                  </a:lnTo>
                  <a:lnTo>
                    <a:pt x="0" y="6196"/>
                  </a:lnTo>
                  <a:lnTo>
                    <a:pt x="466" y="11546"/>
                  </a:lnTo>
                  <a:lnTo>
                    <a:pt x="2745" y="15894"/>
                  </a:lnTo>
                  <a:lnTo>
                    <a:pt x="6376" y="19302"/>
                  </a:lnTo>
                  <a:lnTo>
                    <a:pt x="11778" y="21600"/>
                  </a:lnTo>
                  <a:close/>
                  <a:moveTo>
                    <a:pt x="11778"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2" name="Freeform 44">
              <a:extLst>
                <a:ext uri="{FF2B5EF4-FFF2-40B4-BE49-F238E27FC236}">
                  <a16:creationId xmlns:a16="http://schemas.microsoft.com/office/drawing/2014/main" id="{2C7DE2E0-DA92-4BC6-A88A-5674985FA9EA}"/>
                </a:ext>
              </a:extLst>
            </p:cNvPr>
            <p:cNvSpPr>
              <a:spLocks/>
            </p:cNvSpPr>
            <p:nvPr/>
          </p:nvSpPr>
          <p:spPr bwMode="auto">
            <a:xfrm>
              <a:off x="1025009" y="2269000"/>
              <a:ext cx="273481" cy="16080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182810416 h 21600"/>
                <a:gd name="T10" fmla="*/ 2147483646 w 21600"/>
                <a:gd name="T11" fmla="*/ 0 h 21600"/>
                <a:gd name="T12" fmla="*/ 2147483646 w 21600"/>
                <a:gd name="T13" fmla="*/ 721990442 h 21600"/>
                <a:gd name="T14" fmla="*/ 2147483646 w 21600"/>
                <a:gd name="T15" fmla="*/ 2147483646 h 21600"/>
                <a:gd name="T16" fmla="*/ 0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600" h="21600">
                  <a:moveTo>
                    <a:pt x="10720" y="21600"/>
                  </a:moveTo>
                  <a:lnTo>
                    <a:pt x="14228" y="14308"/>
                  </a:lnTo>
                  <a:lnTo>
                    <a:pt x="19413" y="13248"/>
                  </a:lnTo>
                  <a:lnTo>
                    <a:pt x="18945" y="6950"/>
                  </a:lnTo>
                  <a:lnTo>
                    <a:pt x="21600" y="115"/>
                  </a:lnTo>
                  <a:lnTo>
                    <a:pt x="16375" y="0"/>
                  </a:lnTo>
                  <a:lnTo>
                    <a:pt x="10213" y="454"/>
                  </a:lnTo>
                  <a:lnTo>
                    <a:pt x="5847" y="3503"/>
                  </a:lnTo>
                  <a:lnTo>
                    <a:pt x="0" y="4630"/>
                  </a:lnTo>
                  <a:lnTo>
                    <a:pt x="2729" y="9734"/>
                  </a:lnTo>
                  <a:lnTo>
                    <a:pt x="9005" y="9801"/>
                  </a:lnTo>
                  <a:lnTo>
                    <a:pt x="6120" y="16562"/>
                  </a:lnTo>
                  <a:lnTo>
                    <a:pt x="10720" y="21600"/>
                  </a:lnTo>
                  <a:close/>
                  <a:moveTo>
                    <a:pt x="10720"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3" name="Freeform 45">
              <a:extLst>
                <a:ext uri="{FF2B5EF4-FFF2-40B4-BE49-F238E27FC236}">
                  <a16:creationId xmlns:a16="http://schemas.microsoft.com/office/drawing/2014/main" id="{9712DDCB-B95C-4323-B42E-6617954F23A0}"/>
                </a:ext>
              </a:extLst>
            </p:cNvPr>
            <p:cNvSpPr>
              <a:spLocks/>
            </p:cNvSpPr>
            <p:nvPr/>
          </p:nvSpPr>
          <p:spPr bwMode="auto">
            <a:xfrm>
              <a:off x="1025009" y="2157419"/>
              <a:ext cx="255979" cy="71106"/>
            </a:xfrm>
            <a:custGeom>
              <a:avLst/>
              <a:gdLst>
                <a:gd name="T0" fmla="*/ 0 w 21600"/>
                <a:gd name="T1" fmla="*/ 492952 h 21600"/>
                <a:gd name="T2" fmla="*/ 1487723 w 21600"/>
                <a:gd name="T3" fmla="*/ 435143 h 21600"/>
                <a:gd name="T4" fmla="*/ 3183352 w 21600"/>
                <a:gd name="T5" fmla="*/ 322539 h 21600"/>
                <a:gd name="T6" fmla="*/ 4769567 w 21600"/>
                <a:gd name="T7" fmla="*/ 359056 h 21600"/>
                <a:gd name="T8" fmla="*/ 6388596 w 21600"/>
                <a:gd name="T9" fmla="*/ 404698 h 21600"/>
                <a:gd name="T10" fmla="*/ 5666628 w 21600"/>
                <a:gd name="T11" fmla="*/ 143025 h 21600"/>
                <a:gd name="T12" fmla="*/ 4222690 w 21600"/>
                <a:gd name="T13" fmla="*/ 0 h 21600"/>
                <a:gd name="T14" fmla="*/ 2614599 w 21600"/>
                <a:gd name="T15" fmla="*/ 36517 h 21600"/>
                <a:gd name="T16" fmla="*/ 711031 w 21600"/>
                <a:gd name="T17" fmla="*/ 139968 h 21600"/>
                <a:gd name="T18" fmla="*/ 0 w 21600"/>
                <a:gd name="T19" fmla="*/ 492952 h 21600"/>
                <a:gd name="T20" fmla="*/ 0 w 21600"/>
                <a:gd name="T21" fmla="*/ 492952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0" y="21600"/>
                  </a:moveTo>
                  <a:lnTo>
                    <a:pt x="5030" y="19067"/>
                  </a:lnTo>
                  <a:lnTo>
                    <a:pt x="10763" y="14133"/>
                  </a:lnTo>
                  <a:lnTo>
                    <a:pt x="16126" y="15733"/>
                  </a:lnTo>
                  <a:lnTo>
                    <a:pt x="21600" y="17733"/>
                  </a:lnTo>
                  <a:lnTo>
                    <a:pt x="19159" y="6267"/>
                  </a:lnTo>
                  <a:lnTo>
                    <a:pt x="14277" y="0"/>
                  </a:lnTo>
                  <a:lnTo>
                    <a:pt x="8840" y="1600"/>
                  </a:lnTo>
                  <a:lnTo>
                    <a:pt x="2404" y="6133"/>
                  </a:lnTo>
                  <a:lnTo>
                    <a:pt x="0" y="21600"/>
                  </a:lnTo>
                  <a:close/>
                  <a:moveTo>
                    <a:pt x="0"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4" name="Freeform 46">
              <a:extLst>
                <a:ext uri="{FF2B5EF4-FFF2-40B4-BE49-F238E27FC236}">
                  <a16:creationId xmlns:a16="http://schemas.microsoft.com/office/drawing/2014/main" id="{B9EAE8CF-2590-492A-889C-B8E2E2A8E6FC}"/>
                </a:ext>
              </a:extLst>
            </p:cNvPr>
            <p:cNvSpPr>
              <a:spLocks/>
            </p:cNvSpPr>
            <p:nvPr/>
          </p:nvSpPr>
          <p:spPr bwMode="auto">
            <a:xfrm>
              <a:off x="4759671" y="6327290"/>
              <a:ext cx="203470" cy="180497"/>
            </a:xfrm>
            <a:custGeom>
              <a:avLst/>
              <a:gdLst>
                <a:gd name="T0" fmla="*/ 148484748 w 21600"/>
                <a:gd name="T1" fmla="*/ 467117527 h 21600"/>
                <a:gd name="T2" fmla="*/ 0 w 21600"/>
                <a:gd name="T3" fmla="*/ 257671950 h 21600"/>
                <a:gd name="T4" fmla="*/ 186095674 w 21600"/>
                <a:gd name="T5" fmla="*/ 117124863 h 21600"/>
                <a:gd name="T6" fmla="*/ 316772578 w 21600"/>
                <a:gd name="T7" fmla="*/ 27550570 h 21600"/>
                <a:gd name="T8" fmla="*/ 512751955 w 21600"/>
                <a:gd name="T9" fmla="*/ 0 h 21600"/>
                <a:gd name="T10" fmla="*/ 659282392 w 21600"/>
                <a:gd name="T11" fmla="*/ 74414313 h 21600"/>
                <a:gd name="T12" fmla="*/ 754302297 w 21600"/>
                <a:gd name="T13" fmla="*/ 210829393 h 21600"/>
                <a:gd name="T14" fmla="*/ 629562348 w 21600"/>
                <a:gd name="T15" fmla="*/ 301766303 h 21600"/>
                <a:gd name="T16" fmla="*/ 413782500 w 21600"/>
                <a:gd name="T17" fmla="*/ 366536460 h 21600"/>
                <a:gd name="T18" fmla="*/ 148484748 w 21600"/>
                <a:gd name="T19" fmla="*/ 467117527 h 21600"/>
                <a:gd name="T20" fmla="*/ 148484748 w 21600"/>
                <a:gd name="T21" fmla="*/ 467117527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4252" y="21600"/>
                  </a:moveTo>
                  <a:lnTo>
                    <a:pt x="0" y="11915"/>
                  </a:lnTo>
                  <a:lnTo>
                    <a:pt x="5329" y="5416"/>
                  </a:lnTo>
                  <a:lnTo>
                    <a:pt x="9071" y="1274"/>
                  </a:lnTo>
                  <a:lnTo>
                    <a:pt x="14683" y="0"/>
                  </a:lnTo>
                  <a:lnTo>
                    <a:pt x="18879" y="3441"/>
                  </a:lnTo>
                  <a:lnTo>
                    <a:pt x="21600" y="9749"/>
                  </a:lnTo>
                  <a:lnTo>
                    <a:pt x="18028" y="13954"/>
                  </a:lnTo>
                  <a:lnTo>
                    <a:pt x="11849" y="16949"/>
                  </a:lnTo>
                  <a:lnTo>
                    <a:pt x="4252" y="21600"/>
                  </a:lnTo>
                  <a:close/>
                  <a:moveTo>
                    <a:pt x="4252" y="21600"/>
                  </a:moveTo>
                </a:path>
              </a:pathLst>
            </a:custGeom>
            <a:solidFill>
              <a:schemeClr val="accent3"/>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5" name="Freeform 47">
              <a:extLst>
                <a:ext uri="{FF2B5EF4-FFF2-40B4-BE49-F238E27FC236}">
                  <a16:creationId xmlns:a16="http://schemas.microsoft.com/office/drawing/2014/main" id="{ACE9CA44-F012-42B0-B627-5C1538FF699E}"/>
                </a:ext>
              </a:extLst>
            </p:cNvPr>
            <p:cNvSpPr>
              <a:spLocks/>
            </p:cNvSpPr>
            <p:nvPr/>
          </p:nvSpPr>
          <p:spPr bwMode="auto">
            <a:xfrm>
              <a:off x="5200522" y="5845042"/>
              <a:ext cx="143305" cy="144398"/>
            </a:xfrm>
            <a:custGeom>
              <a:avLst/>
              <a:gdLst>
                <a:gd name="T0" fmla="*/ 0 w 21600"/>
                <a:gd name="T1" fmla="*/ 1495139 h 21600"/>
                <a:gd name="T2" fmla="*/ 234892 w 21600"/>
                <a:gd name="T3" fmla="*/ 645356 h 21600"/>
                <a:gd name="T4" fmla="*/ 918166 w 21600"/>
                <a:gd name="T5" fmla="*/ 0 h 21600"/>
                <a:gd name="T6" fmla="*/ 2002250 w 21600"/>
                <a:gd name="T7" fmla="*/ 116514 h 21600"/>
                <a:gd name="T8" fmla="*/ 1959791 w 21600"/>
                <a:gd name="T9" fmla="*/ 1166864 h 21600"/>
                <a:gd name="T10" fmla="*/ 1601431 w 21600"/>
                <a:gd name="T11" fmla="*/ 2032926 h 21600"/>
                <a:gd name="T12" fmla="*/ 779399 w 21600"/>
                <a:gd name="T13" fmla="*/ 1914618 h 21600"/>
                <a:gd name="T14" fmla="*/ 0 w 21600"/>
                <a:gd name="T15" fmla="*/ 1495139 h 21600"/>
                <a:gd name="T16" fmla="*/ 0 w 21600"/>
                <a:gd name="T17" fmla="*/ 1495139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0" y="15886"/>
                  </a:moveTo>
                  <a:lnTo>
                    <a:pt x="2534" y="6857"/>
                  </a:lnTo>
                  <a:lnTo>
                    <a:pt x="9905" y="0"/>
                  </a:lnTo>
                  <a:lnTo>
                    <a:pt x="21600" y="1238"/>
                  </a:lnTo>
                  <a:lnTo>
                    <a:pt x="21142" y="12398"/>
                  </a:lnTo>
                  <a:lnTo>
                    <a:pt x="17276" y="21600"/>
                  </a:lnTo>
                  <a:lnTo>
                    <a:pt x="8408" y="20343"/>
                  </a:lnTo>
                  <a:lnTo>
                    <a:pt x="0" y="15886"/>
                  </a:lnTo>
                  <a:close/>
                  <a:moveTo>
                    <a:pt x="0" y="1588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6" name="Freeform 48">
              <a:extLst>
                <a:ext uri="{FF2B5EF4-FFF2-40B4-BE49-F238E27FC236}">
                  <a16:creationId xmlns:a16="http://schemas.microsoft.com/office/drawing/2014/main" id="{73878EA9-AB97-47FC-AA30-5C9952F64D9A}"/>
                </a:ext>
              </a:extLst>
            </p:cNvPr>
            <p:cNvSpPr>
              <a:spLocks/>
            </p:cNvSpPr>
            <p:nvPr/>
          </p:nvSpPr>
          <p:spPr bwMode="auto">
            <a:xfrm>
              <a:off x="6059254" y="4011623"/>
              <a:ext cx="33911" cy="96265"/>
            </a:xfrm>
            <a:custGeom>
              <a:avLst/>
              <a:gdLst>
                <a:gd name="T0" fmla="*/ 3021036 w 21600"/>
                <a:gd name="T1" fmla="*/ 1580919868 h 21600"/>
                <a:gd name="T2" fmla="*/ 2879369 w 21600"/>
                <a:gd name="T3" fmla="*/ 733661216 h 21600"/>
                <a:gd name="T4" fmla="*/ 1180190 w 21600"/>
                <a:gd name="T5" fmla="*/ 0 h 21600"/>
                <a:gd name="T6" fmla="*/ 0 w 21600"/>
                <a:gd name="T7" fmla="*/ 1091785063 h 21600"/>
                <a:gd name="T8" fmla="*/ 3021036 w 21600"/>
                <a:gd name="T9" fmla="*/ 1580919868 h 21600"/>
                <a:gd name="T10" fmla="*/ 3021036 w 21600"/>
                <a:gd name="T11" fmla="*/ 1580919868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21600" y="21600"/>
                  </a:moveTo>
                  <a:lnTo>
                    <a:pt x="20587" y="10024"/>
                  </a:lnTo>
                  <a:lnTo>
                    <a:pt x="8438" y="0"/>
                  </a:lnTo>
                  <a:lnTo>
                    <a:pt x="0" y="14917"/>
                  </a:lnTo>
                  <a:lnTo>
                    <a:pt x="21600" y="21600"/>
                  </a:lnTo>
                  <a:close/>
                  <a:moveTo>
                    <a:pt x="21600"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7" name="Freeform 49">
              <a:extLst>
                <a:ext uri="{FF2B5EF4-FFF2-40B4-BE49-F238E27FC236}">
                  <a16:creationId xmlns:a16="http://schemas.microsoft.com/office/drawing/2014/main" id="{D06AAC1E-B28B-457B-BEBD-F87470A94443}"/>
                </a:ext>
              </a:extLst>
            </p:cNvPr>
            <p:cNvSpPr>
              <a:spLocks/>
            </p:cNvSpPr>
            <p:nvPr/>
          </p:nvSpPr>
          <p:spPr bwMode="auto">
            <a:xfrm>
              <a:off x="6094260" y="3932860"/>
              <a:ext cx="47038" cy="78763"/>
            </a:xfrm>
            <a:custGeom>
              <a:avLst/>
              <a:gdLst>
                <a:gd name="T0" fmla="*/ 5105476 w 21600"/>
                <a:gd name="T1" fmla="*/ 474251798 h 21600"/>
                <a:gd name="T2" fmla="*/ 21518167 w 21600"/>
                <a:gd name="T3" fmla="*/ 0 h 21600"/>
                <a:gd name="T4" fmla="*/ 0 w 21600"/>
                <a:gd name="T5" fmla="*/ 148511911 h 21600"/>
                <a:gd name="T6" fmla="*/ 5105476 w 21600"/>
                <a:gd name="T7" fmla="*/ 474251798 h 21600"/>
                <a:gd name="T8" fmla="*/ 5105476 w 21600"/>
                <a:gd name="T9" fmla="*/ 474251798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5125" y="21600"/>
                  </a:moveTo>
                  <a:lnTo>
                    <a:pt x="21600" y="0"/>
                  </a:lnTo>
                  <a:lnTo>
                    <a:pt x="0" y="6764"/>
                  </a:lnTo>
                  <a:lnTo>
                    <a:pt x="5125" y="21600"/>
                  </a:lnTo>
                  <a:close/>
                  <a:moveTo>
                    <a:pt x="5125"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8" name="Freeform 50">
              <a:extLst>
                <a:ext uri="{FF2B5EF4-FFF2-40B4-BE49-F238E27FC236}">
                  <a16:creationId xmlns:a16="http://schemas.microsoft.com/office/drawing/2014/main" id="{586926ED-D6EC-4395-84E7-C24DFA22E576}"/>
                </a:ext>
              </a:extLst>
            </p:cNvPr>
            <p:cNvSpPr>
              <a:spLocks/>
            </p:cNvSpPr>
            <p:nvPr/>
          </p:nvSpPr>
          <p:spPr bwMode="auto">
            <a:xfrm>
              <a:off x="6395089" y="4534520"/>
              <a:ext cx="30630" cy="88608"/>
            </a:xfrm>
            <a:custGeom>
              <a:avLst/>
              <a:gdLst>
                <a:gd name="T0" fmla="*/ 1054613 w 21600"/>
                <a:gd name="T1" fmla="*/ 961421716 h 21600"/>
                <a:gd name="T2" fmla="*/ 1640442 w 21600"/>
                <a:gd name="T3" fmla="*/ 0 h 21600"/>
                <a:gd name="T4" fmla="*/ 0 w 21600"/>
                <a:gd name="T5" fmla="*/ 532835459 h 21600"/>
                <a:gd name="T6" fmla="*/ 1054613 w 21600"/>
                <a:gd name="T7" fmla="*/ 961421716 h 21600"/>
                <a:gd name="T8" fmla="*/ 1054613 w 21600"/>
                <a:gd name="T9" fmla="*/ 961421716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3886" y="21600"/>
                  </a:moveTo>
                  <a:lnTo>
                    <a:pt x="21600" y="0"/>
                  </a:lnTo>
                  <a:lnTo>
                    <a:pt x="0" y="11971"/>
                  </a:lnTo>
                  <a:lnTo>
                    <a:pt x="13886" y="21600"/>
                  </a:lnTo>
                  <a:close/>
                  <a:moveTo>
                    <a:pt x="13886" y="21600"/>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9" name="Freeform 51">
              <a:extLst>
                <a:ext uri="{FF2B5EF4-FFF2-40B4-BE49-F238E27FC236}">
                  <a16:creationId xmlns:a16="http://schemas.microsoft.com/office/drawing/2014/main" id="{480DCDDF-79C3-433A-89F6-91D6B6C4B39E}"/>
                </a:ext>
              </a:extLst>
            </p:cNvPr>
            <p:cNvSpPr>
              <a:spLocks/>
            </p:cNvSpPr>
            <p:nvPr/>
          </p:nvSpPr>
          <p:spPr bwMode="auto">
            <a:xfrm>
              <a:off x="3571668" y="3897855"/>
              <a:ext cx="123613" cy="130177"/>
            </a:xfrm>
            <a:custGeom>
              <a:avLst/>
              <a:gdLst>
                <a:gd name="T0" fmla="*/ 1005323532 w 21600"/>
                <a:gd name="T1" fmla="*/ 2147483646 h 21600"/>
                <a:gd name="T2" fmla="*/ 2147483646 w 21600"/>
                <a:gd name="T3" fmla="*/ 2147483646 h 21600"/>
                <a:gd name="T4" fmla="*/ 2147483646 w 21600"/>
                <a:gd name="T5" fmla="*/ 2147483646 h 21600"/>
                <a:gd name="T6" fmla="*/ 2147483646 w 21600"/>
                <a:gd name="T7" fmla="*/ 1487201280 h 21600"/>
                <a:gd name="T8" fmla="*/ 2147483646 w 21600"/>
                <a:gd name="T9" fmla="*/ 0 h 21600"/>
                <a:gd name="T10" fmla="*/ 0 w 21600"/>
                <a:gd name="T11" fmla="*/ 2147483646 h 21600"/>
                <a:gd name="T12" fmla="*/ 1005323532 w 21600"/>
                <a:gd name="T13" fmla="*/ 2147483646 h 21600"/>
                <a:gd name="T14" fmla="*/ 1005323532 w 21600"/>
                <a:gd name="T15" fmla="*/ 214748364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3064" y="21600"/>
                  </a:moveTo>
                  <a:lnTo>
                    <a:pt x="7813" y="15484"/>
                  </a:lnTo>
                  <a:lnTo>
                    <a:pt x="8426" y="8056"/>
                  </a:lnTo>
                  <a:lnTo>
                    <a:pt x="21600" y="3323"/>
                  </a:lnTo>
                  <a:lnTo>
                    <a:pt x="11133" y="0"/>
                  </a:lnTo>
                  <a:lnTo>
                    <a:pt x="0" y="7765"/>
                  </a:lnTo>
                  <a:lnTo>
                    <a:pt x="3064" y="21600"/>
                  </a:lnTo>
                  <a:close/>
                  <a:moveTo>
                    <a:pt x="3064"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70" name="Freeform 52">
              <a:extLst>
                <a:ext uri="{FF2B5EF4-FFF2-40B4-BE49-F238E27FC236}">
                  <a16:creationId xmlns:a16="http://schemas.microsoft.com/office/drawing/2014/main" id="{B4B3BA41-F98E-450E-94B0-A3B26CF45863}"/>
                </a:ext>
              </a:extLst>
            </p:cNvPr>
            <p:cNvSpPr>
              <a:spLocks/>
            </p:cNvSpPr>
            <p:nvPr/>
          </p:nvSpPr>
          <p:spPr bwMode="auto">
            <a:xfrm>
              <a:off x="4627305" y="2347762"/>
              <a:ext cx="1128931" cy="81278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0 w 21600"/>
                <a:gd name="T17" fmla="*/ 2147483646 h 21600"/>
                <a:gd name="T18" fmla="*/ 0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600" h="21600">
                  <a:moveTo>
                    <a:pt x="7939" y="19590"/>
                  </a:moveTo>
                  <a:lnTo>
                    <a:pt x="6971" y="18125"/>
                  </a:lnTo>
                  <a:lnTo>
                    <a:pt x="5989" y="16626"/>
                  </a:lnTo>
                  <a:lnTo>
                    <a:pt x="5105" y="15195"/>
                  </a:lnTo>
                  <a:lnTo>
                    <a:pt x="3873" y="12839"/>
                  </a:lnTo>
                  <a:lnTo>
                    <a:pt x="3336" y="12025"/>
                  </a:lnTo>
                  <a:lnTo>
                    <a:pt x="2083" y="10521"/>
                  </a:lnTo>
                  <a:lnTo>
                    <a:pt x="1031" y="9403"/>
                  </a:lnTo>
                  <a:lnTo>
                    <a:pt x="0" y="8926"/>
                  </a:lnTo>
                  <a:lnTo>
                    <a:pt x="0" y="6609"/>
                  </a:lnTo>
                  <a:lnTo>
                    <a:pt x="687" y="5724"/>
                  </a:lnTo>
                  <a:lnTo>
                    <a:pt x="1669" y="5656"/>
                  </a:lnTo>
                  <a:lnTo>
                    <a:pt x="2160" y="4633"/>
                  </a:lnTo>
                  <a:lnTo>
                    <a:pt x="3436" y="4633"/>
                  </a:lnTo>
                  <a:lnTo>
                    <a:pt x="4025" y="6064"/>
                  </a:lnTo>
                  <a:lnTo>
                    <a:pt x="5253" y="6814"/>
                  </a:lnTo>
                  <a:lnTo>
                    <a:pt x="6824" y="6609"/>
                  </a:lnTo>
                  <a:lnTo>
                    <a:pt x="8002" y="7018"/>
                  </a:lnTo>
                  <a:lnTo>
                    <a:pt x="9475" y="6269"/>
                  </a:lnTo>
                  <a:lnTo>
                    <a:pt x="10456" y="4770"/>
                  </a:lnTo>
                  <a:lnTo>
                    <a:pt x="11880" y="6064"/>
                  </a:lnTo>
                  <a:lnTo>
                    <a:pt x="13500" y="6064"/>
                  </a:lnTo>
                  <a:lnTo>
                    <a:pt x="14531" y="3611"/>
                  </a:lnTo>
                  <a:lnTo>
                    <a:pt x="15415" y="1908"/>
                  </a:lnTo>
                  <a:lnTo>
                    <a:pt x="14776" y="681"/>
                  </a:lnTo>
                  <a:lnTo>
                    <a:pt x="15905" y="0"/>
                  </a:lnTo>
                  <a:lnTo>
                    <a:pt x="16740" y="409"/>
                  </a:lnTo>
                  <a:lnTo>
                    <a:pt x="16691" y="2385"/>
                  </a:lnTo>
                  <a:lnTo>
                    <a:pt x="16936" y="3816"/>
                  </a:lnTo>
                  <a:lnTo>
                    <a:pt x="17575" y="4770"/>
                  </a:lnTo>
                  <a:lnTo>
                    <a:pt x="18115" y="6746"/>
                  </a:lnTo>
                  <a:lnTo>
                    <a:pt x="18311" y="9199"/>
                  </a:lnTo>
                  <a:lnTo>
                    <a:pt x="16936" y="9539"/>
                  </a:lnTo>
                  <a:lnTo>
                    <a:pt x="16445" y="11379"/>
                  </a:lnTo>
                  <a:lnTo>
                    <a:pt x="17907" y="11634"/>
                  </a:lnTo>
                  <a:lnTo>
                    <a:pt x="18753" y="13015"/>
                  </a:lnTo>
                  <a:lnTo>
                    <a:pt x="19636" y="14445"/>
                  </a:lnTo>
                  <a:lnTo>
                    <a:pt x="20716" y="17103"/>
                  </a:lnTo>
                  <a:lnTo>
                    <a:pt x="21551" y="17239"/>
                  </a:lnTo>
                  <a:lnTo>
                    <a:pt x="21600" y="18874"/>
                  </a:lnTo>
                  <a:lnTo>
                    <a:pt x="20373" y="18943"/>
                  </a:lnTo>
                  <a:lnTo>
                    <a:pt x="19195" y="19079"/>
                  </a:lnTo>
                  <a:lnTo>
                    <a:pt x="18262" y="20578"/>
                  </a:lnTo>
                  <a:lnTo>
                    <a:pt x="17133" y="21123"/>
                  </a:lnTo>
                  <a:lnTo>
                    <a:pt x="15365" y="21259"/>
                  </a:lnTo>
                  <a:lnTo>
                    <a:pt x="13991" y="21191"/>
                  </a:lnTo>
                  <a:lnTo>
                    <a:pt x="13009" y="21600"/>
                  </a:lnTo>
                  <a:lnTo>
                    <a:pt x="12171" y="20506"/>
                  </a:lnTo>
                  <a:lnTo>
                    <a:pt x="10898" y="19147"/>
                  </a:lnTo>
                  <a:lnTo>
                    <a:pt x="9564" y="18956"/>
                  </a:lnTo>
                  <a:lnTo>
                    <a:pt x="7939" y="19590"/>
                  </a:lnTo>
                  <a:close/>
                  <a:moveTo>
                    <a:pt x="7939" y="1959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71" name="Oval 53">
              <a:extLst>
                <a:ext uri="{FF2B5EF4-FFF2-40B4-BE49-F238E27FC236}">
                  <a16:creationId xmlns:a16="http://schemas.microsoft.com/office/drawing/2014/main" id="{92609E2F-58D0-4E18-B963-9F6F09946C37}"/>
                </a:ext>
              </a:extLst>
            </p:cNvPr>
            <p:cNvSpPr>
              <a:spLocks/>
            </p:cNvSpPr>
            <p:nvPr/>
          </p:nvSpPr>
          <p:spPr bwMode="auto">
            <a:xfrm rot="18196973">
              <a:off x="3220517" y="3141952"/>
              <a:ext cx="70011" cy="35006"/>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2" name="Oval 54">
              <a:extLst>
                <a:ext uri="{FF2B5EF4-FFF2-40B4-BE49-F238E27FC236}">
                  <a16:creationId xmlns:a16="http://schemas.microsoft.com/office/drawing/2014/main" id="{AC92703B-616B-4F59-8C17-ABF99328115A}"/>
                </a:ext>
              </a:extLst>
            </p:cNvPr>
            <p:cNvSpPr>
              <a:spLocks/>
            </p:cNvSpPr>
            <p:nvPr/>
          </p:nvSpPr>
          <p:spPr bwMode="auto">
            <a:xfrm rot="17652526">
              <a:off x="3049864" y="3441688"/>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3" name="Oval 55">
              <a:extLst>
                <a:ext uri="{FF2B5EF4-FFF2-40B4-BE49-F238E27FC236}">
                  <a16:creationId xmlns:a16="http://schemas.microsoft.com/office/drawing/2014/main" id="{45BB4A7E-5064-4DB5-AD77-F839F1BE122B}"/>
                </a:ext>
              </a:extLst>
            </p:cNvPr>
            <p:cNvSpPr>
              <a:spLocks/>
            </p:cNvSpPr>
            <p:nvPr/>
          </p:nvSpPr>
          <p:spPr bwMode="auto">
            <a:xfrm rot="16412833">
              <a:off x="3131909" y="3337765"/>
              <a:ext cx="35006" cy="17503"/>
            </a:xfrm>
            <a:prstGeom prst="ellipse">
              <a:avLst/>
            </a:prstGeom>
            <a:solidFill>
              <a:srgbClr val="E6E6E6"/>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4" name="Oval 56">
              <a:extLst>
                <a:ext uri="{FF2B5EF4-FFF2-40B4-BE49-F238E27FC236}">
                  <a16:creationId xmlns:a16="http://schemas.microsoft.com/office/drawing/2014/main" id="{410EB983-F4AF-4850-AA10-32344A5F9BC6}"/>
                </a:ext>
              </a:extLst>
            </p:cNvPr>
            <p:cNvSpPr>
              <a:spLocks/>
            </p:cNvSpPr>
            <p:nvPr/>
          </p:nvSpPr>
          <p:spPr bwMode="auto">
            <a:xfrm rot="17652526">
              <a:off x="6474945" y="4624221"/>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5" name="Oval 57">
              <a:extLst>
                <a:ext uri="{FF2B5EF4-FFF2-40B4-BE49-F238E27FC236}">
                  <a16:creationId xmlns:a16="http://schemas.microsoft.com/office/drawing/2014/main" id="{3D4DB9A7-9036-4E07-ADB0-9D1AA89F5975}"/>
                </a:ext>
              </a:extLst>
            </p:cNvPr>
            <p:cNvSpPr>
              <a:spLocks/>
            </p:cNvSpPr>
            <p:nvPr/>
          </p:nvSpPr>
          <p:spPr bwMode="auto">
            <a:xfrm rot="15817739">
              <a:off x="6544957" y="4667978"/>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6" name="Oval 58">
              <a:extLst>
                <a:ext uri="{FF2B5EF4-FFF2-40B4-BE49-F238E27FC236}">
                  <a16:creationId xmlns:a16="http://schemas.microsoft.com/office/drawing/2014/main" id="{C3D84060-D2BE-46FA-9D35-702FBE8CA7E1}"/>
                </a:ext>
              </a:extLst>
            </p:cNvPr>
            <p:cNvSpPr>
              <a:spLocks/>
            </p:cNvSpPr>
            <p:nvPr/>
          </p:nvSpPr>
          <p:spPr bwMode="auto">
            <a:xfrm rot="10936610">
              <a:off x="6413686" y="4632973"/>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7" name="Freeform 59">
              <a:extLst>
                <a:ext uri="{FF2B5EF4-FFF2-40B4-BE49-F238E27FC236}">
                  <a16:creationId xmlns:a16="http://schemas.microsoft.com/office/drawing/2014/main" id="{66797671-2D6E-4D86-ADDC-C2012635BCDF}"/>
                </a:ext>
              </a:extLst>
            </p:cNvPr>
            <p:cNvSpPr>
              <a:spLocks/>
            </p:cNvSpPr>
            <p:nvPr/>
          </p:nvSpPr>
          <p:spPr bwMode="auto">
            <a:xfrm>
              <a:off x="5393053" y="3459191"/>
              <a:ext cx="263636" cy="277857"/>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796" y="21600"/>
                  </a:moveTo>
                  <a:lnTo>
                    <a:pt x="0" y="16306"/>
                  </a:lnTo>
                  <a:lnTo>
                    <a:pt x="674" y="11135"/>
                  </a:lnTo>
                  <a:lnTo>
                    <a:pt x="184" y="5055"/>
                  </a:lnTo>
                  <a:lnTo>
                    <a:pt x="2933" y="2050"/>
                  </a:lnTo>
                  <a:lnTo>
                    <a:pt x="8484" y="1228"/>
                  </a:lnTo>
                  <a:lnTo>
                    <a:pt x="13254" y="0"/>
                  </a:lnTo>
                  <a:lnTo>
                    <a:pt x="16906" y="1731"/>
                  </a:lnTo>
                  <a:lnTo>
                    <a:pt x="21600" y="3928"/>
                  </a:lnTo>
                  <a:lnTo>
                    <a:pt x="18798" y="6830"/>
                  </a:lnTo>
                  <a:lnTo>
                    <a:pt x="17021" y="12284"/>
                  </a:lnTo>
                  <a:lnTo>
                    <a:pt x="13668" y="15754"/>
                  </a:lnTo>
                  <a:lnTo>
                    <a:pt x="11333" y="21507"/>
                  </a:lnTo>
                  <a:lnTo>
                    <a:pt x="6808" y="19878"/>
                  </a:lnTo>
                  <a:lnTo>
                    <a:pt x="796" y="21600"/>
                  </a:lnTo>
                  <a:close/>
                  <a:moveTo>
                    <a:pt x="796" y="21600"/>
                  </a:moveTo>
                </a:path>
              </a:pathLst>
            </a:custGeom>
            <a:solidFill>
              <a:srgbClr val="C0EDFE"/>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78" name="Rectangle 60">
              <a:extLst>
                <a:ext uri="{FF2B5EF4-FFF2-40B4-BE49-F238E27FC236}">
                  <a16:creationId xmlns:a16="http://schemas.microsoft.com/office/drawing/2014/main" id="{976529DE-16FD-4ED9-BED8-9E72461E1544}"/>
                </a:ext>
              </a:extLst>
            </p:cNvPr>
            <p:cNvSpPr>
              <a:spLocks/>
            </p:cNvSpPr>
            <p:nvPr/>
          </p:nvSpPr>
          <p:spPr bwMode="auto">
            <a:xfrm>
              <a:off x="2677931" y="731031"/>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Algeria</a:t>
              </a:r>
            </a:p>
          </p:txBody>
        </p:sp>
        <p:sp>
          <p:nvSpPr>
            <p:cNvPr id="179" name="Rectangle 61">
              <a:extLst>
                <a:ext uri="{FF2B5EF4-FFF2-40B4-BE49-F238E27FC236}">
                  <a16:creationId xmlns:a16="http://schemas.microsoft.com/office/drawing/2014/main" id="{696BD2C2-F7F5-4E26-9431-BCB01428AED8}"/>
                </a:ext>
              </a:extLst>
            </p:cNvPr>
            <p:cNvSpPr>
              <a:spLocks/>
            </p:cNvSpPr>
            <p:nvPr/>
          </p:nvSpPr>
          <p:spPr bwMode="auto">
            <a:xfrm>
              <a:off x="3876873" y="4494136"/>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Angola</a:t>
              </a:r>
            </a:p>
          </p:txBody>
        </p:sp>
        <p:sp>
          <p:nvSpPr>
            <p:cNvPr id="180" name="Rectangle 62">
              <a:extLst>
                <a:ext uri="{FF2B5EF4-FFF2-40B4-BE49-F238E27FC236}">
                  <a16:creationId xmlns:a16="http://schemas.microsoft.com/office/drawing/2014/main" id="{79CBE348-BBC1-4E9D-B99D-D6E9D48882EA}"/>
                </a:ext>
              </a:extLst>
            </p:cNvPr>
            <p:cNvSpPr>
              <a:spLocks/>
            </p:cNvSpPr>
            <p:nvPr/>
          </p:nvSpPr>
          <p:spPr bwMode="auto">
            <a:xfrm rot="16734410">
              <a:off x="2522979" y="2476733"/>
              <a:ext cx="340535"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08" b="1">
                  <a:solidFill>
                    <a:srgbClr val="1C1C1C"/>
                  </a:solidFill>
                  <a:latin typeface="Helvetica" panose="020B0604020202020204" pitchFamily="34" charset="0"/>
                  <a:sym typeface="Helvetica" panose="020B0604020202020204" pitchFamily="34" charset="0"/>
                </a:rPr>
                <a:t>Benin</a:t>
              </a:r>
            </a:p>
          </p:txBody>
        </p:sp>
        <p:sp>
          <p:nvSpPr>
            <p:cNvPr id="181" name="Rectangle 63">
              <a:extLst>
                <a:ext uri="{FF2B5EF4-FFF2-40B4-BE49-F238E27FC236}">
                  <a16:creationId xmlns:a16="http://schemas.microsoft.com/office/drawing/2014/main" id="{B6F6E689-FB85-4009-983F-40879ED00F59}"/>
                </a:ext>
              </a:extLst>
            </p:cNvPr>
            <p:cNvSpPr>
              <a:spLocks/>
            </p:cNvSpPr>
            <p:nvPr/>
          </p:nvSpPr>
          <p:spPr bwMode="auto">
            <a:xfrm>
              <a:off x="4375704" y="5420607"/>
              <a:ext cx="760783"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Botswana</a:t>
              </a:r>
            </a:p>
          </p:txBody>
        </p:sp>
        <p:sp>
          <p:nvSpPr>
            <p:cNvPr id="182" name="Rectangle 64">
              <a:extLst>
                <a:ext uri="{FF2B5EF4-FFF2-40B4-BE49-F238E27FC236}">
                  <a16:creationId xmlns:a16="http://schemas.microsoft.com/office/drawing/2014/main" id="{003B3B12-4C7D-4F1D-B52D-82792E9FFCE9}"/>
                </a:ext>
              </a:extLst>
            </p:cNvPr>
            <p:cNvSpPr>
              <a:spLocks/>
            </p:cNvSpPr>
            <p:nvPr/>
          </p:nvSpPr>
          <p:spPr bwMode="auto">
            <a:xfrm>
              <a:off x="2087239" y="2245323"/>
              <a:ext cx="547665" cy="263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lnSpc>
                  <a:spcPct val="80000"/>
                </a:lnSpc>
              </a:pPr>
              <a:r>
                <a:rPr lang="en-US" altLang="en-US" sz="686" b="1" dirty="0">
                  <a:solidFill>
                    <a:srgbClr val="1C1C1C"/>
                  </a:solidFill>
                  <a:latin typeface="Helvetica" panose="020B0604020202020204" pitchFamily="34" charset="0"/>
                  <a:sym typeface="Helvetica" panose="020B0604020202020204" pitchFamily="34" charset="0"/>
                </a:rPr>
                <a:t>Burkina </a:t>
              </a:r>
            </a:p>
            <a:p>
              <a:pPr algn="ctr" eaLnBrk="1" hangingPunct="1">
                <a:lnSpc>
                  <a:spcPct val="80000"/>
                </a:lnSpc>
              </a:pPr>
              <a:r>
                <a:rPr lang="en-US" altLang="en-US" sz="686" b="1" dirty="0">
                  <a:solidFill>
                    <a:srgbClr val="1C1C1C"/>
                  </a:solidFill>
                  <a:latin typeface="Helvetica" panose="020B0604020202020204" pitchFamily="34" charset="0"/>
                  <a:sym typeface="Helvetica" panose="020B0604020202020204" pitchFamily="34" charset="0"/>
                </a:rPr>
                <a:t>Faso</a:t>
              </a:r>
            </a:p>
          </p:txBody>
        </p:sp>
        <p:sp>
          <p:nvSpPr>
            <p:cNvPr id="183" name="Rectangle 65">
              <a:extLst>
                <a:ext uri="{FF2B5EF4-FFF2-40B4-BE49-F238E27FC236}">
                  <a16:creationId xmlns:a16="http://schemas.microsoft.com/office/drawing/2014/main" id="{1CEAAADA-EC57-4560-A7FC-5D0F03EB93A6}"/>
                </a:ext>
              </a:extLst>
            </p:cNvPr>
            <p:cNvSpPr>
              <a:spLocks/>
            </p:cNvSpPr>
            <p:nvPr/>
          </p:nvSpPr>
          <p:spPr bwMode="auto">
            <a:xfrm>
              <a:off x="3281777" y="2970214"/>
              <a:ext cx="797955"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Cameroon</a:t>
              </a:r>
            </a:p>
          </p:txBody>
        </p:sp>
        <p:sp>
          <p:nvSpPr>
            <p:cNvPr id="184" name="Rectangle 66">
              <a:extLst>
                <a:ext uri="{FF2B5EF4-FFF2-40B4-BE49-F238E27FC236}">
                  <a16:creationId xmlns:a16="http://schemas.microsoft.com/office/drawing/2014/main" id="{F1657B97-06E9-4EFB-9584-44A813E0AB7E}"/>
                </a:ext>
              </a:extLst>
            </p:cNvPr>
            <p:cNvSpPr>
              <a:spLocks/>
            </p:cNvSpPr>
            <p:nvPr/>
          </p:nvSpPr>
          <p:spPr bwMode="auto">
            <a:xfrm>
              <a:off x="4078505" y="2742464"/>
              <a:ext cx="867342" cy="282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r>
                <a:rPr lang="en-US" altLang="en-US" sz="588" b="1" dirty="0">
                  <a:solidFill>
                    <a:srgbClr val="1C1C1C"/>
                  </a:solidFill>
                  <a:latin typeface="Helvetica" panose="020B0604020202020204" pitchFamily="34" charset="0"/>
                  <a:sym typeface="Helvetica" panose="020B0604020202020204" pitchFamily="34" charset="0"/>
                </a:rPr>
                <a:t>Central African </a:t>
              </a:r>
            </a:p>
            <a:p>
              <a:pPr algn="ctr" eaLnBrk="1" hangingPunct="1"/>
              <a:r>
                <a:rPr lang="en-US" altLang="en-US" sz="588" b="1" dirty="0">
                  <a:solidFill>
                    <a:srgbClr val="1C1C1C"/>
                  </a:solidFill>
                  <a:latin typeface="Helvetica" panose="020B0604020202020204" pitchFamily="34" charset="0"/>
                  <a:sym typeface="Helvetica" panose="020B0604020202020204" pitchFamily="34" charset="0"/>
                </a:rPr>
                <a:t>Republic</a:t>
              </a:r>
            </a:p>
          </p:txBody>
        </p:sp>
        <p:sp>
          <p:nvSpPr>
            <p:cNvPr id="185" name="Rectangle 67">
              <a:extLst>
                <a:ext uri="{FF2B5EF4-FFF2-40B4-BE49-F238E27FC236}">
                  <a16:creationId xmlns:a16="http://schemas.microsoft.com/office/drawing/2014/main" id="{55ABDE52-7D16-46E4-8647-BE05205F6E8B}"/>
                </a:ext>
              </a:extLst>
            </p:cNvPr>
            <p:cNvSpPr>
              <a:spLocks/>
            </p:cNvSpPr>
            <p:nvPr/>
          </p:nvSpPr>
          <p:spPr bwMode="auto">
            <a:xfrm>
              <a:off x="3916651" y="2087499"/>
              <a:ext cx="468365"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chemeClr val="tx1"/>
                  </a:solidFill>
                  <a:latin typeface="Helvetica" panose="020B0604020202020204" pitchFamily="34" charset="0"/>
                  <a:sym typeface="Helvetica" panose="020B0604020202020204" pitchFamily="34" charset="0"/>
                </a:rPr>
                <a:t>Chad</a:t>
              </a:r>
            </a:p>
          </p:txBody>
        </p:sp>
        <p:sp>
          <p:nvSpPr>
            <p:cNvPr id="186" name="Rectangle 68">
              <a:extLst>
                <a:ext uri="{FF2B5EF4-FFF2-40B4-BE49-F238E27FC236}">
                  <a16:creationId xmlns:a16="http://schemas.microsoft.com/office/drawing/2014/main" id="{8BA9F7E0-54FC-4A98-812B-F33846030DA6}"/>
                </a:ext>
              </a:extLst>
            </p:cNvPr>
            <p:cNvSpPr>
              <a:spLocks/>
            </p:cNvSpPr>
            <p:nvPr/>
          </p:nvSpPr>
          <p:spPr bwMode="auto">
            <a:xfrm>
              <a:off x="6283508" y="4334743"/>
              <a:ext cx="644311"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Comoros</a:t>
              </a:r>
            </a:p>
          </p:txBody>
        </p:sp>
        <p:sp>
          <p:nvSpPr>
            <p:cNvPr id="187" name="Rectangle 69">
              <a:extLst>
                <a:ext uri="{FF2B5EF4-FFF2-40B4-BE49-F238E27FC236}">
                  <a16:creationId xmlns:a16="http://schemas.microsoft.com/office/drawing/2014/main" id="{4340B0C7-6544-472B-A755-800A75612C3B}"/>
                </a:ext>
              </a:extLst>
            </p:cNvPr>
            <p:cNvSpPr>
              <a:spLocks/>
            </p:cNvSpPr>
            <p:nvPr/>
          </p:nvSpPr>
          <p:spPr bwMode="auto">
            <a:xfrm>
              <a:off x="5137074" y="3717770"/>
              <a:ext cx="106560"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B</a:t>
              </a:r>
            </a:p>
          </p:txBody>
        </p:sp>
        <p:sp>
          <p:nvSpPr>
            <p:cNvPr id="188" name="Rectangle 70">
              <a:extLst>
                <a:ext uri="{FF2B5EF4-FFF2-40B4-BE49-F238E27FC236}">
                  <a16:creationId xmlns:a16="http://schemas.microsoft.com/office/drawing/2014/main" id="{1C5A3E58-4B7D-4672-999C-21B7B2188B37}"/>
                </a:ext>
              </a:extLst>
            </p:cNvPr>
            <p:cNvSpPr>
              <a:spLocks/>
            </p:cNvSpPr>
            <p:nvPr/>
          </p:nvSpPr>
          <p:spPr bwMode="auto">
            <a:xfrm>
              <a:off x="4079976" y="3713438"/>
              <a:ext cx="91690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DR Congo</a:t>
              </a:r>
            </a:p>
          </p:txBody>
        </p:sp>
        <p:sp>
          <p:nvSpPr>
            <p:cNvPr id="189" name="Rectangle 71">
              <a:extLst>
                <a:ext uri="{FF2B5EF4-FFF2-40B4-BE49-F238E27FC236}">
                  <a16:creationId xmlns:a16="http://schemas.microsoft.com/office/drawing/2014/main" id="{52E82F2F-54D9-4EA6-B026-4D201C0E11C1}"/>
                </a:ext>
              </a:extLst>
            </p:cNvPr>
            <p:cNvSpPr>
              <a:spLocks/>
            </p:cNvSpPr>
            <p:nvPr/>
          </p:nvSpPr>
          <p:spPr bwMode="auto">
            <a:xfrm rot="17980179">
              <a:off x="3638142" y="3488243"/>
              <a:ext cx="468704" cy="160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dirty="0">
                  <a:solidFill>
                    <a:sysClr val="windowText" lastClr="000000"/>
                  </a:solidFill>
                  <a:latin typeface="Helvetica" panose="020B0604020202020204" pitchFamily="34" charset="0"/>
                  <a:sym typeface="Helvetica" panose="020B0604020202020204" pitchFamily="34" charset="0"/>
                </a:rPr>
                <a:t>Congo</a:t>
              </a:r>
              <a:r>
                <a:rPr lang="en-US" altLang="en-US" sz="675" b="1" dirty="0">
                  <a:solidFill>
                    <a:schemeClr val="bg1"/>
                  </a:solidFill>
                  <a:latin typeface="Helvetica" panose="020B0604020202020204" pitchFamily="34" charset="0"/>
                  <a:sym typeface="Helvetica" panose="020B0604020202020204" pitchFamily="34" charset="0"/>
                </a:rPr>
                <a:t> </a:t>
              </a:r>
            </a:p>
          </p:txBody>
        </p:sp>
        <p:sp>
          <p:nvSpPr>
            <p:cNvPr id="190" name="Rectangle 72">
              <a:extLst>
                <a:ext uri="{FF2B5EF4-FFF2-40B4-BE49-F238E27FC236}">
                  <a16:creationId xmlns:a16="http://schemas.microsoft.com/office/drawing/2014/main" id="{D9DD3821-1EB8-4B8D-9202-2D21ECC52D53}"/>
                </a:ext>
              </a:extLst>
            </p:cNvPr>
            <p:cNvSpPr>
              <a:spLocks/>
            </p:cNvSpPr>
            <p:nvPr/>
          </p:nvSpPr>
          <p:spPr bwMode="auto">
            <a:xfrm>
              <a:off x="6414781" y="2025650"/>
              <a:ext cx="651746" cy="211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78" b="1">
                  <a:solidFill>
                    <a:srgbClr val="1C1C1C"/>
                  </a:solidFill>
                  <a:latin typeface="Helvetica" panose="020B0604020202020204" pitchFamily="34" charset="0"/>
                  <a:sym typeface="Helvetica" panose="020B0604020202020204" pitchFamily="34" charset="0"/>
                </a:rPr>
                <a:t>Djibouti</a:t>
              </a:r>
            </a:p>
          </p:txBody>
        </p:sp>
        <p:sp>
          <p:nvSpPr>
            <p:cNvPr id="191" name="Rectangle 73">
              <a:extLst>
                <a:ext uri="{FF2B5EF4-FFF2-40B4-BE49-F238E27FC236}">
                  <a16:creationId xmlns:a16="http://schemas.microsoft.com/office/drawing/2014/main" id="{F7A55AF8-DDAA-4308-AA89-7EC72BE8BE4C}"/>
                </a:ext>
              </a:extLst>
            </p:cNvPr>
            <p:cNvSpPr>
              <a:spLocks/>
            </p:cNvSpPr>
            <p:nvPr/>
          </p:nvSpPr>
          <p:spPr bwMode="auto">
            <a:xfrm>
              <a:off x="4865782" y="941065"/>
              <a:ext cx="51792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Egypt</a:t>
              </a:r>
            </a:p>
          </p:txBody>
        </p:sp>
        <p:sp>
          <p:nvSpPr>
            <p:cNvPr id="192" name="Rectangle 74">
              <a:extLst>
                <a:ext uri="{FF2B5EF4-FFF2-40B4-BE49-F238E27FC236}">
                  <a16:creationId xmlns:a16="http://schemas.microsoft.com/office/drawing/2014/main" id="{753E59AF-22E3-48F4-8761-AC29DA41FD17}"/>
                </a:ext>
              </a:extLst>
            </p:cNvPr>
            <p:cNvSpPr>
              <a:spLocks/>
            </p:cNvSpPr>
            <p:nvPr/>
          </p:nvSpPr>
          <p:spPr bwMode="auto">
            <a:xfrm>
              <a:off x="3351788" y="3265208"/>
              <a:ext cx="156123" cy="12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40" b="1">
                  <a:solidFill>
                    <a:srgbClr val="1C1C1C"/>
                  </a:solidFill>
                  <a:latin typeface="Helvetica" panose="020B0604020202020204" pitchFamily="34" charset="0"/>
                  <a:sym typeface="Helvetica" panose="020B0604020202020204" pitchFamily="34" charset="0"/>
                </a:rPr>
                <a:t>EG</a:t>
              </a:r>
            </a:p>
          </p:txBody>
        </p:sp>
        <p:sp>
          <p:nvSpPr>
            <p:cNvPr id="193" name="Rectangle 75">
              <a:extLst>
                <a:ext uri="{FF2B5EF4-FFF2-40B4-BE49-F238E27FC236}">
                  <a16:creationId xmlns:a16="http://schemas.microsoft.com/office/drawing/2014/main" id="{13DB3B7C-F9B6-4FFA-A01B-735C294178BB}"/>
                </a:ext>
              </a:extLst>
            </p:cNvPr>
            <p:cNvSpPr>
              <a:spLocks/>
            </p:cNvSpPr>
            <p:nvPr/>
          </p:nvSpPr>
          <p:spPr bwMode="auto">
            <a:xfrm rot="1909263">
              <a:off x="5780179" y="2015742"/>
              <a:ext cx="596626" cy="168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rgbClr val="1C1C1C"/>
                  </a:solidFill>
                  <a:latin typeface="Helvetica" panose="020B0604020202020204" pitchFamily="34" charset="0"/>
                  <a:sym typeface="Helvetica" panose="020B0604020202020204" pitchFamily="34" charset="0"/>
                </a:rPr>
                <a:t>Eritrea</a:t>
              </a:r>
            </a:p>
          </p:txBody>
        </p:sp>
        <p:sp>
          <p:nvSpPr>
            <p:cNvPr id="194" name="Rectangle 76">
              <a:extLst>
                <a:ext uri="{FF2B5EF4-FFF2-40B4-BE49-F238E27FC236}">
                  <a16:creationId xmlns:a16="http://schemas.microsoft.com/office/drawing/2014/main" id="{C6E8CDAF-96ED-485B-8B4D-A902CFA6C6E9}"/>
                </a:ext>
              </a:extLst>
            </p:cNvPr>
            <p:cNvSpPr>
              <a:spLocks/>
            </p:cNvSpPr>
            <p:nvPr/>
          </p:nvSpPr>
          <p:spPr bwMode="auto">
            <a:xfrm>
              <a:off x="5819684" y="2586328"/>
              <a:ext cx="736002"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chemeClr val="tx1"/>
                  </a:solidFill>
                  <a:latin typeface="Helvetica" panose="020B0604020202020204" pitchFamily="34" charset="0"/>
                  <a:sym typeface="Helvetica" panose="020B0604020202020204" pitchFamily="34" charset="0"/>
                </a:rPr>
                <a:t>Ethiopia</a:t>
              </a:r>
            </a:p>
          </p:txBody>
        </p:sp>
        <p:sp>
          <p:nvSpPr>
            <p:cNvPr id="195" name="Rectangle 77">
              <a:extLst>
                <a:ext uri="{FF2B5EF4-FFF2-40B4-BE49-F238E27FC236}">
                  <a16:creationId xmlns:a16="http://schemas.microsoft.com/office/drawing/2014/main" id="{CA2FCD16-0553-43C6-B49C-24CF0599F10E}"/>
                </a:ext>
              </a:extLst>
            </p:cNvPr>
            <p:cNvSpPr>
              <a:spLocks/>
            </p:cNvSpPr>
            <p:nvPr/>
          </p:nvSpPr>
          <p:spPr bwMode="auto">
            <a:xfrm>
              <a:off x="3325533" y="3434038"/>
              <a:ext cx="510493"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Gabon</a:t>
              </a:r>
            </a:p>
          </p:txBody>
        </p:sp>
        <p:sp>
          <p:nvSpPr>
            <p:cNvPr id="196" name="Rectangle 78">
              <a:extLst>
                <a:ext uri="{FF2B5EF4-FFF2-40B4-BE49-F238E27FC236}">
                  <a16:creationId xmlns:a16="http://schemas.microsoft.com/office/drawing/2014/main" id="{D7AAE06A-DB5D-4189-96F2-7D861488EB22}"/>
                </a:ext>
              </a:extLst>
            </p:cNvPr>
            <p:cNvSpPr>
              <a:spLocks/>
            </p:cNvSpPr>
            <p:nvPr/>
          </p:nvSpPr>
          <p:spPr bwMode="auto">
            <a:xfrm>
              <a:off x="323802" y="2121762"/>
              <a:ext cx="669093"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88" b="1" dirty="0">
                  <a:solidFill>
                    <a:srgbClr val="1C1C1C"/>
                  </a:solidFill>
                  <a:latin typeface="Helvetica" panose="020B0604020202020204" pitchFamily="34" charset="0"/>
                  <a:sym typeface="Helvetica" panose="020B0604020202020204" pitchFamily="34" charset="0"/>
                </a:rPr>
                <a:t>The Gambia</a:t>
              </a:r>
            </a:p>
          </p:txBody>
        </p:sp>
        <p:sp>
          <p:nvSpPr>
            <p:cNvPr id="197" name="Rectangle 79">
              <a:extLst>
                <a:ext uri="{FF2B5EF4-FFF2-40B4-BE49-F238E27FC236}">
                  <a16:creationId xmlns:a16="http://schemas.microsoft.com/office/drawing/2014/main" id="{CFAB9C45-612E-4F21-A2B4-77BE274A7320}"/>
                </a:ext>
              </a:extLst>
            </p:cNvPr>
            <p:cNvSpPr>
              <a:spLocks/>
            </p:cNvSpPr>
            <p:nvPr/>
          </p:nvSpPr>
          <p:spPr bwMode="auto">
            <a:xfrm>
              <a:off x="2170348" y="2768242"/>
              <a:ext cx="498103"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rgbClr val="1C1C1C"/>
                  </a:solidFill>
                  <a:latin typeface="Helvetica" panose="020B0604020202020204" pitchFamily="34" charset="0"/>
                  <a:sym typeface="Helvetica" panose="020B0604020202020204" pitchFamily="34" charset="0"/>
                </a:rPr>
                <a:t>Ghana</a:t>
              </a:r>
              <a:r>
                <a:rPr lang="en-US" altLang="en-US" sz="743" dirty="0">
                  <a:solidFill>
                    <a:srgbClr val="1C1C1C"/>
                  </a:solidFill>
                  <a:latin typeface="Helvetica" panose="020B0604020202020204" pitchFamily="34" charset="0"/>
                  <a:sym typeface="Helvetica" panose="020B0604020202020204" pitchFamily="34" charset="0"/>
                </a:rPr>
                <a:t> </a:t>
              </a:r>
            </a:p>
          </p:txBody>
        </p:sp>
        <p:sp>
          <p:nvSpPr>
            <p:cNvPr id="198" name="Rectangle 80">
              <a:extLst>
                <a:ext uri="{FF2B5EF4-FFF2-40B4-BE49-F238E27FC236}">
                  <a16:creationId xmlns:a16="http://schemas.microsoft.com/office/drawing/2014/main" id="{00E76C36-5DA5-4C27-87CB-A999825914F3}"/>
                </a:ext>
              </a:extLst>
            </p:cNvPr>
            <p:cNvSpPr>
              <a:spLocks/>
            </p:cNvSpPr>
            <p:nvPr/>
          </p:nvSpPr>
          <p:spPr bwMode="auto">
            <a:xfrm>
              <a:off x="1251451" y="2346283"/>
              <a:ext cx="465887" cy="164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86" b="1" dirty="0">
                  <a:solidFill>
                    <a:srgbClr val="1C1C1C"/>
                  </a:solidFill>
                  <a:latin typeface="Helvetica" panose="020B0604020202020204" pitchFamily="34" charset="0"/>
                  <a:sym typeface="Helvetica" panose="020B0604020202020204" pitchFamily="34" charset="0"/>
                </a:rPr>
                <a:t>Guinea</a:t>
              </a:r>
            </a:p>
          </p:txBody>
        </p:sp>
        <p:sp>
          <p:nvSpPr>
            <p:cNvPr id="199" name="Rectangle 81">
              <a:extLst>
                <a:ext uri="{FF2B5EF4-FFF2-40B4-BE49-F238E27FC236}">
                  <a16:creationId xmlns:a16="http://schemas.microsoft.com/office/drawing/2014/main" id="{7F641537-C06F-497E-9FC9-7CC5E0F3D0BE}"/>
                </a:ext>
              </a:extLst>
            </p:cNvPr>
            <p:cNvSpPr>
              <a:spLocks/>
            </p:cNvSpPr>
            <p:nvPr/>
          </p:nvSpPr>
          <p:spPr bwMode="auto">
            <a:xfrm>
              <a:off x="1759034" y="2588020"/>
              <a:ext cx="609618" cy="31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lnSpc>
                  <a:spcPct val="80000"/>
                </a:lnSpc>
              </a:pPr>
              <a:r>
                <a:rPr lang="en-US" altLang="en-US" sz="810" b="1" dirty="0">
                  <a:solidFill>
                    <a:srgbClr val="1C1C1C"/>
                  </a:solidFill>
                  <a:latin typeface="Helvetica" panose="020B0604020202020204" pitchFamily="34" charset="0"/>
                  <a:sym typeface="Helvetica" panose="020B0604020202020204" pitchFamily="34" charset="0"/>
                </a:rPr>
                <a:t>Côte</a:t>
              </a:r>
            </a:p>
            <a:p>
              <a:pPr eaLnBrk="1" hangingPunct="1">
                <a:lnSpc>
                  <a:spcPct val="80000"/>
                </a:lnSpc>
              </a:pPr>
              <a:r>
                <a:rPr lang="en-US" altLang="en-US" sz="810" b="1" dirty="0">
                  <a:solidFill>
                    <a:srgbClr val="1C1C1C"/>
                  </a:solidFill>
                  <a:latin typeface="Helvetica" panose="020B0604020202020204" pitchFamily="34" charset="0"/>
                  <a:sym typeface="Helvetica" panose="020B0604020202020204" pitchFamily="34" charset="0"/>
                </a:rPr>
                <a:t> d'Ivoire</a:t>
              </a:r>
            </a:p>
          </p:txBody>
        </p:sp>
        <p:sp>
          <p:nvSpPr>
            <p:cNvPr id="200" name="Rectangle 82">
              <a:extLst>
                <a:ext uri="{FF2B5EF4-FFF2-40B4-BE49-F238E27FC236}">
                  <a16:creationId xmlns:a16="http://schemas.microsoft.com/office/drawing/2014/main" id="{1B936204-9800-4618-9A16-4B9E56BDFF92}"/>
                </a:ext>
              </a:extLst>
            </p:cNvPr>
            <p:cNvSpPr>
              <a:spLocks/>
            </p:cNvSpPr>
            <p:nvPr/>
          </p:nvSpPr>
          <p:spPr bwMode="auto">
            <a:xfrm>
              <a:off x="275156" y="2310372"/>
              <a:ext cx="817780"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88" b="1" dirty="0">
                  <a:solidFill>
                    <a:srgbClr val="1C1C1C"/>
                  </a:solidFill>
                  <a:latin typeface="Helvetica" panose="020B0604020202020204" pitchFamily="34" charset="0"/>
                  <a:sym typeface="Helvetica" panose="020B0604020202020204" pitchFamily="34" charset="0"/>
                </a:rPr>
                <a:t>Guinea-Bissau</a:t>
              </a:r>
            </a:p>
          </p:txBody>
        </p:sp>
        <p:sp>
          <p:nvSpPr>
            <p:cNvPr id="201" name="Rectangle 83">
              <a:extLst>
                <a:ext uri="{FF2B5EF4-FFF2-40B4-BE49-F238E27FC236}">
                  <a16:creationId xmlns:a16="http://schemas.microsoft.com/office/drawing/2014/main" id="{268020E0-F2C9-478C-A02E-117D568C3DFB}"/>
                </a:ext>
              </a:extLst>
            </p:cNvPr>
            <p:cNvSpPr>
              <a:spLocks/>
            </p:cNvSpPr>
            <p:nvPr/>
          </p:nvSpPr>
          <p:spPr bwMode="auto">
            <a:xfrm>
              <a:off x="5697167" y="3321445"/>
              <a:ext cx="56253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Kenya</a:t>
              </a:r>
            </a:p>
          </p:txBody>
        </p:sp>
        <p:sp>
          <p:nvSpPr>
            <p:cNvPr id="202" name="Rectangle 85">
              <a:extLst>
                <a:ext uri="{FF2B5EF4-FFF2-40B4-BE49-F238E27FC236}">
                  <a16:creationId xmlns:a16="http://schemas.microsoft.com/office/drawing/2014/main" id="{1D9AFDFA-9C55-4F0C-9157-077D770EC0A4}"/>
                </a:ext>
              </a:extLst>
            </p:cNvPr>
            <p:cNvSpPr>
              <a:spLocks/>
            </p:cNvSpPr>
            <p:nvPr/>
          </p:nvSpPr>
          <p:spPr bwMode="auto">
            <a:xfrm rot="2309957">
              <a:off x="1433118" y="2812029"/>
              <a:ext cx="381630"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88" b="1" dirty="0">
                  <a:solidFill>
                    <a:srgbClr val="1C1C1C"/>
                  </a:solidFill>
                  <a:latin typeface="Helvetica" panose="020B0604020202020204" pitchFamily="34" charset="0"/>
                  <a:sym typeface="Helvetica" panose="020B0604020202020204" pitchFamily="34" charset="0"/>
                </a:rPr>
                <a:t>Liberia</a:t>
              </a:r>
            </a:p>
          </p:txBody>
        </p:sp>
        <p:sp>
          <p:nvSpPr>
            <p:cNvPr id="203" name="Rectangle 86">
              <a:extLst>
                <a:ext uri="{FF2B5EF4-FFF2-40B4-BE49-F238E27FC236}">
                  <a16:creationId xmlns:a16="http://schemas.microsoft.com/office/drawing/2014/main" id="{32311584-2443-46B9-929F-6ED19535C391}"/>
                </a:ext>
              </a:extLst>
            </p:cNvPr>
            <p:cNvSpPr>
              <a:spLocks/>
            </p:cNvSpPr>
            <p:nvPr/>
          </p:nvSpPr>
          <p:spPr bwMode="auto">
            <a:xfrm>
              <a:off x="3824363" y="836046"/>
              <a:ext cx="488190"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Libya</a:t>
              </a:r>
            </a:p>
          </p:txBody>
        </p:sp>
        <p:sp>
          <p:nvSpPr>
            <p:cNvPr id="204" name="Rectangle 87">
              <a:extLst>
                <a:ext uri="{FF2B5EF4-FFF2-40B4-BE49-F238E27FC236}">
                  <a16:creationId xmlns:a16="http://schemas.microsoft.com/office/drawing/2014/main" id="{F12F84B7-6E30-4953-B2BA-4E4DCB0F4D17}"/>
                </a:ext>
              </a:extLst>
            </p:cNvPr>
            <p:cNvSpPr>
              <a:spLocks/>
            </p:cNvSpPr>
            <p:nvPr/>
          </p:nvSpPr>
          <p:spPr bwMode="auto">
            <a:xfrm rot="17502747">
              <a:off x="6077862" y="5229877"/>
              <a:ext cx="1091716" cy="22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Madagascar</a:t>
              </a:r>
            </a:p>
          </p:txBody>
        </p:sp>
        <p:sp>
          <p:nvSpPr>
            <p:cNvPr id="205" name="Rectangle 88">
              <a:extLst>
                <a:ext uri="{FF2B5EF4-FFF2-40B4-BE49-F238E27FC236}">
                  <a16:creationId xmlns:a16="http://schemas.microsoft.com/office/drawing/2014/main" id="{17622AA3-B7CF-4B30-9E27-47145E7742E2}"/>
                </a:ext>
              </a:extLst>
            </p:cNvPr>
            <p:cNvSpPr>
              <a:spLocks/>
            </p:cNvSpPr>
            <p:nvPr/>
          </p:nvSpPr>
          <p:spPr bwMode="auto">
            <a:xfrm rot="4205332">
              <a:off x="5393862" y="4639424"/>
              <a:ext cx="403135"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08" b="1">
                  <a:solidFill>
                    <a:srgbClr val="1C1C1C"/>
                  </a:solidFill>
                  <a:latin typeface="Helvetica" panose="020B0604020202020204" pitchFamily="34" charset="0"/>
                  <a:sym typeface="Helvetica" panose="020B0604020202020204" pitchFamily="34" charset="0"/>
                </a:rPr>
                <a:t>Malawi</a:t>
              </a:r>
            </a:p>
          </p:txBody>
        </p:sp>
        <p:sp>
          <p:nvSpPr>
            <p:cNvPr id="206" name="Rectangle 89">
              <a:extLst>
                <a:ext uri="{FF2B5EF4-FFF2-40B4-BE49-F238E27FC236}">
                  <a16:creationId xmlns:a16="http://schemas.microsoft.com/office/drawing/2014/main" id="{F67E8B1E-A36E-402B-9B10-1CA1F0048D4F}"/>
                </a:ext>
              </a:extLst>
            </p:cNvPr>
            <p:cNvSpPr>
              <a:spLocks/>
            </p:cNvSpPr>
            <p:nvPr/>
          </p:nvSpPr>
          <p:spPr bwMode="auto">
            <a:xfrm>
              <a:off x="2279541" y="1828647"/>
              <a:ext cx="36428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Mali</a:t>
              </a:r>
            </a:p>
          </p:txBody>
        </p:sp>
        <p:sp>
          <p:nvSpPr>
            <p:cNvPr id="207" name="Rectangle 90">
              <a:extLst>
                <a:ext uri="{FF2B5EF4-FFF2-40B4-BE49-F238E27FC236}">
                  <a16:creationId xmlns:a16="http://schemas.microsoft.com/office/drawing/2014/main" id="{83F4F8A8-1F51-4607-B241-084BC92361D8}"/>
                </a:ext>
              </a:extLst>
            </p:cNvPr>
            <p:cNvSpPr>
              <a:spLocks/>
            </p:cNvSpPr>
            <p:nvPr/>
          </p:nvSpPr>
          <p:spPr bwMode="auto">
            <a:xfrm>
              <a:off x="1188202" y="1562410"/>
              <a:ext cx="773173" cy="18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84" b="1" dirty="0">
                  <a:solidFill>
                    <a:srgbClr val="1C1C1C"/>
                  </a:solidFill>
                  <a:latin typeface="Helvetica" panose="020B0604020202020204" pitchFamily="34" charset="0"/>
                  <a:sym typeface="Helvetica" panose="020B0604020202020204" pitchFamily="34" charset="0"/>
                </a:rPr>
                <a:t>Mauritania</a:t>
              </a:r>
            </a:p>
          </p:txBody>
        </p:sp>
        <p:sp>
          <p:nvSpPr>
            <p:cNvPr id="208" name="Rectangle 91">
              <a:extLst>
                <a:ext uri="{FF2B5EF4-FFF2-40B4-BE49-F238E27FC236}">
                  <a16:creationId xmlns:a16="http://schemas.microsoft.com/office/drawing/2014/main" id="{BFE31391-E6D7-45D6-A255-5FB27A90B5F6}"/>
                </a:ext>
              </a:extLst>
            </p:cNvPr>
            <p:cNvSpPr>
              <a:spLocks/>
            </p:cNvSpPr>
            <p:nvPr/>
          </p:nvSpPr>
          <p:spPr bwMode="auto">
            <a:xfrm rot="18474764">
              <a:off x="5345004" y="4859333"/>
              <a:ext cx="986551" cy="19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Mozambique</a:t>
              </a:r>
            </a:p>
          </p:txBody>
        </p:sp>
        <p:sp>
          <p:nvSpPr>
            <p:cNvPr id="209" name="Rectangle 92">
              <a:extLst>
                <a:ext uri="{FF2B5EF4-FFF2-40B4-BE49-F238E27FC236}">
                  <a16:creationId xmlns:a16="http://schemas.microsoft.com/office/drawing/2014/main" id="{05B50DD5-03BF-4C0B-A9B3-3AA83CE19ABC}"/>
                </a:ext>
              </a:extLst>
            </p:cNvPr>
            <p:cNvSpPr>
              <a:spLocks/>
            </p:cNvSpPr>
            <p:nvPr/>
          </p:nvSpPr>
          <p:spPr bwMode="auto">
            <a:xfrm>
              <a:off x="3771855" y="5220500"/>
              <a:ext cx="72856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amibia</a:t>
              </a:r>
            </a:p>
          </p:txBody>
        </p:sp>
        <p:sp>
          <p:nvSpPr>
            <p:cNvPr id="210" name="Rectangle 93">
              <a:extLst>
                <a:ext uri="{FF2B5EF4-FFF2-40B4-BE49-F238E27FC236}">
                  <a16:creationId xmlns:a16="http://schemas.microsoft.com/office/drawing/2014/main" id="{0CB7A01E-06C2-4992-ABD6-7EF919ED8F46}"/>
                </a:ext>
              </a:extLst>
            </p:cNvPr>
            <p:cNvSpPr>
              <a:spLocks/>
            </p:cNvSpPr>
            <p:nvPr/>
          </p:nvSpPr>
          <p:spPr bwMode="auto">
            <a:xfrm>
              <a:off x="3159258" y="1747048"/>
              <a:ext cx="47827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iger</a:t>
              </a:r>
            </a:p>
          </p:txBody>
        </p:sp>
        <p:sp>
          <p:nvSpPr>
            <p:cNvPr id="211" name="Rectangle 94">
              <a:extLst>
                <a:ext uri="{FF2B5EF4-FFF2-40B4-BE49-F238E27FC236}">
                  <a16:creationId xmlns:a16="http://schemas.microsoft.com/office/drawing/2014/main" id="{CD7F2F2D-60CC-45B1-841B-64F5B8E90753}"/>
                </a:ext>
              </a:extLst>
            </p:cNvPr>
            <p:cNvSpPr>
              <a:spLocks/>
            </p:cNvSpPr>
            <p:nvPr/>
          </p:nvSpPr>
          <p:spPr bwMode="auto">
            <a:xfrm>
              <a:off x="2905466" y="2560072"/>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igeria</a:t>
              </a:r>
            </a:p>
          </p:txBody>
        </p:sp>
        <p:sp>
          <p:nvSpPr>
            <p:cNvPr id="212" name="Rectangle 95">
              <a:extLst>
                <a:ext uri="{FF2B5EF4-FFF2-40B4-BE49-F238E27FC236}">
                  <a16:creationId xmlns:a16="http://schemas.microsoft.com/office/drawing/2014/main" id="{63A6B4C1-4065-449A-A698-748F7BC5DC2E}"/>
                </a:ext>
              </a:extLst>
            </p:cNvPr>
            <p:cNvSpPr>
              <a:spLocks/>
            </p:cNvSpPr>
            <p:nvPr/>
          </p:nvSpPr>
          <p:spPr bwMode="auto">
            <a:xfrm>
              <a:off x="5156764" y="3596847"/>
              <a:ext cx="96648" cy="16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a:solidFill>
                    <a:srgbClr val="1C1C1C"/>
                  </a:solidFill>
                  <a:latin typeface="Helvetica" panose="020B0604020202020204" pitchFamily="34" charset="0"/>
                  <a:sym typeface="Helvetica" panose="020B0604020202020204" pitchFamily="34" charset="0"/>
                </a:rPr>
                <a:t>R</a:t>
              </a:r>
            </a:p>
          </p:txBody>
        </p:sp>
        <p:sp>
          <p:nvSpPr>
            <p:cNvPr id="213" name="Rectangle 96">
              <a:extLst>
                <a:ext uri="{FF2B5EF4-FFF2-40B4-BE49-F238E27FC236}">
                  <a16:creationId xmlns:a16="http://schemas.microsoft.com/office/drawing/2014/main" id="{4CA1FECF-87B7-4726-BDF7-AA12664DD0D1}"/>
                </a:ext>
              </a:extLst>
            </p:cNvPr>
            <p:cNvSpPr>
              <a:spLocks/>
            </p:cNvSpPr>
            <p:nvPr/>
          </p:nvSpPr>
          <p:spPr bwMode="auto">
            <a:xfrm>
              <a:off x="2362890" y="3613798"/>
              <a:ext cx="802911" cy="259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lnSpc>
                  <a:spcPct val="80000"/>
                </a:lnSpc>
              </a:pPr>
              <a:r>
                <a:rPr lang="en-US" altLang="en-US" sz="675" b="1" dirty="0">
                  <a:solidFill>
                    <a:srgbClr val="1C1C1C"/>
                  </a:solidFill>
                  <a:latin typeface="Helvetica" panose="020B0604020202020204" pitchFamily="34" charset="0"/>
                  <a:sym typeface="Helvetica" panose="020B0604020202020204" pitchFamily="34" charset="0"/>
                </a:rPr>
                <a:t>São Tomé</a:t>
              </a:r>
            </a:p>
            <a:p>
              <a:pPr eaLnBrk="1" hangingPunct="1">
                <a:lnSpc>
                  <a:spcPct val="80000"/>
                </a:lnSpc>
              </a:pPr>
              <a:r>
                <a:rPr lang="en-US" altLang="en-US" sz="675" b="1" dirty="0">
                  <a:solidFill>
                    <a:srgbClr val="1C1C1C"/>
                  </a:solidFill>
                  <a:latin typeface="Helvetica" panose="020B0604020202020204" pitchFamily="34" charset="0"/>
                  <a:sym typeface="Helvetica" panose="020B0604020202020204" pitchFamily="34" charset="0"/>
                </a:rPr>
                <a:t>and Príncipe</a:t>
              </a:r>
            </a:p>
          </p:txBody>
        </p:sp>
        <p:sp>
          <p:nvSpPr>
            <p:cNvPr id="214" name="Rectangle 97">
              <a:extLst>
                <a:ext uri="{FF2B5EF4-FFF2-40B4-BE49-F238E27FC236}">
                  <a16:creationId xmlns:a16="http://schemas.microsoft.com/office/drawing/2014/main" id="{69FF3EDF-9EB2-43A2-8FC7-82E4EEDD3A1D}"/>
                </a:ext>
              </a:extLst>
            </p:cNvPr>
            <p:cNvSpPr>
              <a:spLocks/>
            </p:cNvSpPr>
            <p:nvPr/>
          </p:nvSpPr>
          <p:spPr bwMode="auto">
            <a:xfrm>
              <a:off x="1006413" y="1980026"/>
              <a:ext cx="512971" cy="16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a:solidFill>
                    <a:srgbClr val="1C1C1C"/>
                  </a:solidFill>
                  <a:latin typeface="Helvetica" panose="020B0604020202020204" pitchFamily="34" charset="0"/>
                  <a:sym typeface="Helvetica" panose="020B0604020202020204" pitchFamily="34" charset="0"/>
                </a:rPr>
                <a:t>Senegal</a:t>
              </a:r>
            </a:p>
          </p:txBody>
        </p:sp>
        <p:sp>
          <p:nvSpPr>
            <p:cNvPr id="215" name="Rectangle 98">
              <a:extLst>
                <a:ext uri="{FF2B5EF4-FFF2-40B4-BE49-F238E27FC236}">
                  <a16:creationId xmlns:a16="http://schemas.microsoft.com/office/drawing/2014/main" id="{7C8EBD95-FCDC-494D-A771-1EB1FE2C8F7E}"/>
                </a:ext>
              </a:extLst>
            </p:cNvPr>
            <p:cNvSpPr>
              <a:spLocks/>
            </p:cNvSpPr>
            <p:nvPr/>
          </p:nvSpPr>
          <p:spPr bwMode="auto">
            <a:xfrm>
              <a:off x="402396" y="2705052"/>
              <a:ext cx="892123"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rgbClr val="1C1C1C"/>
                  </a:solidFill>
                  <a:latin typeface="Helvetica" panose="020B0604020202020204" pitchFamily="34" charset="0"/>
                  <a:sym typeface="Helvetica" panose="020B0604020202020204" pitchFamily="34" charset="0"/>
                </a:rPr>
                <a:t>Sierra Leone</a:t>
              </a:r>
            </a:p>
          </p:txBody>
        </p:sp>
        <p:sp>
          <p:nvSpPr>
            <p:cNvPr id="216" name="Rectangle 100">
              <a:extLst>
                <a:ext uri="{FF2B5EF4-FFF2-40B4-BE49-F238E27FC236}">
                  <a16:creationId xmlns:a16="http://schemas.microsoft.com/office/drawing/2014/main" id="{8B1EF788-0F90-4C42-9D19-E21A0958A710}"/>
                </a:ext>
              </a:extLst>
            </p:cNvPr>
            <p:cNvSpPr>
              <a:spLocks/>
            </p:cNvSpPr>
            <p:nvPr/>
          </p:nvSpPr>
          <p:spPr bwMode="auto">
            <a:xfrm>
              <a:off x="4174421" y="6080922"/>
              <a:ext cx="111019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South Africa</a:t>
              </a:r>
            </a:p>
          </p:txBody>
        </p:sp>
        <p:sp>
          <p:nvSpPr>
            <p:cNvPr id="217" name="Rectangle 101">
              <a:extLst>
                <a:ext uri="{FF2B5EF4-FFF2-40B4-BE49-F238E27FC236}">
                  <a16:creationId xmlns:a16="http://schemas.microsoft.com/office/drawing/2014/main" id="{6056B51A-A626-4942-B037-31C9AD1A4989}"/>
                </a:ext>
              </a:extLst>
            </p:cNvPr>
            <p:cNvSpPr>
              <a:spLocks/>
            </p:cNvSpPr>
            <p:nvPr/>
          </p:nvSpPr>
          <p:spPr bwMode="auto">
            <a:xfrm>
              <a:off x="4900787" y="2795185"/>
              <a:ext cx="996204"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dirty="0">
                  <a:solidFill>
                    <a:srgbClr val="1C1C1C"/>
                  </a:solidFill>
                  <a:latin typeface="Helvetica" panose="020B0604020202020204" pitchFamily="34" charset="0"/>
                  <a:sym typeface="Helvetica" panose="020B0604020202020204" pitchFamily="34" charset="0"/>
                </a:rPr>
                <a:t>South Sudan</a:t>
              </a:r>
            </a:p>
          </p:txBody>
        </p:sp>
        <p:sp>
          <p:nvSpPr>
            <p:cNvPr id="218" name="Rectangle 102">
              <a:extLst>
                <a:ext uri="{FF2B5EF4-FFF2-40B4-BE49-F238E27FC236}">
                  <a16:creationId xmlns:a16="http://schemas.microsoft.com/office/drawing/2014/main" id="{0A1DD891-AB36-47F5-8BA3-0271D26DC07F}"/>
                </a:ext>
              </a:extLst>
            </p:cNvPr>
            <p:cNvSpPr>
              <a:spLocks/>
            </p:cNvSpPr>
            <p:nvPr/>
          </p:nvSpPr>
          <p:spPr bwMode="auto">
            <a:xfrm>
              <a:off x="4970798" y="1999983"/>
              <a:ext cx="56996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Sudan</a:t>
              </a:r>
            </a:p>
          </p:txBody>
        </p:sp>
        <p:sp>
          <p:nvSpPr>
            <p:cNvPr id="219" name="Rectangle 103">
              <a:extLst>
                <a:ext uri="{FF2B5EF4-FFF2-40B4-BE49-F238E27FC236}">
                  <a16:creationId xmlns:a16="http://schemas.microsoft.com/office/drawing/2014/main" id="{B73EB979-1987-4C9E-B4D4-9D7AFFF0FCE9}"/>
                </a:ext>
              </a:extLst>
            </p:cNvPr>
            <p:cNvSpPr>
              <a:spLocks/>
            </p:cNvSpPr>
            <p:nvPr/>
          </p:nvSpPr>
          <p:spPr bwMode="auto">
            <a:xfrm>
              <a:off x="5528700" y="5839985"/>
              <a:ext cx="617052"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ESwatini</a:t>
              </a:r>
            </a:p>
          </p:txBody>
        </p:sp>
        <p:sp>
          <p:nvSpPr>
            <p:cNvPr id="220" name="Rectangle 104">
              <a:extLst>
                <a:ext uri="{FF2B5EF4-FFF2-40B4-BE49-F238E27FC236}">
                  <a16:creationId xmlns:a16="http://schemas.microsoft.com/office/drawing/2014/main" id="{15F25402-FE90-4C91-8358-2E1C6E5294EC}"/>
                </a:ext>
              </a:extLst>
            </p:cNvPr>
            <p:cNvSpPr>
              <a:spLocks/>
            </p:cNvSpPr>
            <p:nvPr/>
          </p:nvSpPr>
          <p:spPr bwMode="auto">
            <a:xfrm>
              <a:off x="5452126" y="4059845"/>
              <a:ext cx="800433"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Tanzania</a:t>
              </a:r>
            </a:p>
          </p:txBody>
        </p:sp>
        <p:sp>
          <p:nvSpPr>
            <p:cNvPr id="221" name="Rectangle 105">
              <a:extLst>
                <a:ext uri="{FF2B5EF4-FFF2-40B4-BE49-F238E27FC236}">
                  <a16:creationId xmlns:a16="http://schemas.microsoft.com/office/drawing/2014/main" id="{985FC0F3-1F19-418F-B942-10700045591E}"/>
                </a:ext>
              </a:extLst>
            </p:cNvPr>
            <p:cNvSpPr>
              <a:spLocks/>
            </p:cNvSpPr>
            <p:nvPr/>
          </p:nvSpPr>
          <p:spPr bwMode="auto">
            <a:xfrm rot="5186741">
              <a:off x="2432523" y="2645200"/>
              <a:ext cx="300472"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08" b="1">
                  <a:solidFill>
                    <a:srgbClr val="1C1C1C"/>
                  </a:solidFill>
                  <a:latin typeface="Helvetica" panose="020B0604020202020204" pitchFamily="34" charset="0"/>
                  <a:sym typeface="Helvetica" panose="020B0604020202020204" pitchFamily="34" charset="0"/>
                </a:rPr>
                <a:t>Togo</a:t>
              </a:r>
            </a:p>
          </p:txBody>
        </p:sp>
        <p:sp>
          <p:nvSpPr>
            <p:cNvPr id="222" name="Rectangle 106">
              <a:extLst>
                <a:ext uri="{FF2B5EF4-FFF2-40B4-BE49-F238E27FC236}">
                  <a16:creationId xmlns:a16="http://schemas.microsoft.com/office/drawing/2014/main" id="{97B83387-8131-4C22-96F0-234BE35DAB4C}"/>
                </a:ext>
              </a:extLst>
            </p:cNvPr>
            <p:cNvSpPr>
              <a:spLocks/>
            </p:cNvSpPr>
            <p:nvPr/>
          </p:nvSpPr>
          <p:spPr bwMode="auto">
            <a:xfrm rot="17602798">
              <a:off x="3198584" y="261340"/>
              <a:ext cx="520820" cy="17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Tunisia</a:t>
              </a:r>
            </a:p>
          </p:txBody>
        </p:sp>
        <p:sp>
          <p:nvSpPr>
            <p:cNvPr id="223" name="Rectangle 107">
              <a:extLst>
                <a:ext uri="{FF2B5EF4-FFF2-40B4-BE49-F238E27FC236}">
                  <a16:creationId xmlns:a16="http://schemas.microsoft.com/office/drawing/2014/main" id="{5B5CF28D-81AA-4BC0-BDE1-C83B069DD3E1}"/>
                </a:ext>
              </a:extLst>
            </p:cNvPr>
            <p:cNvSpPr>
              <a:spLocks/>
            </p:cNvSpPr>
            <p:nvPr/>
          </p:nvSpPr>
          <p:spPr bwMode="auto">
            <a:xfrm rot="18686377">
              <a:off x="5131027" y="3260012"/>
              <a:ext cx="598441" cy="19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Uganda</a:t>
              </a:r>
            </a:p>
          </p:txBody>
        </p:sp>
        <p:sp>
          <p:nvSpPr>
            <p:cNvPr id="224" name="Rectangle 108">
              <a:extLst>
                <a:ext uri="{FF2B5EF4-FFF2-40B4-BE49-F238E27FC236}">
                  <a16:creationId xmlns:a16="http://schemas.microsoft.com/office/drawing/2014/main" id="{E15B55EA-5328-4619-886C-72553239B8FA}"/>
                </a:ext>
              </a:extLst>
            </p:cNvPr>
            <p:cNvSpPr>
              <a:spLocks/>
            </p:cNvSpPr>
            <p:nvPr/>
          </p:nvSpPr>
          <p:spPr bwMode="auto">
            <a:xfrm>
              <a:off x="4629493" y="4677912"/>
              <a:ext cx="65422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igeria</a:t>
              </a:r>
            </a:p>
          </p:txBody>
        </p:sp>
        <p:sp>
          <p:nvSpPr>
            <p:cNvPr id="225" name="Rectangle 109">
              <a:extLst>
                <a:ext uri="{FF2B5EF4-FFF2-40B4-BE49-F238E27FC236}">
                  <a16:creationId xmlns:a16="http://schemas.microsoft.com/office/drawing/2014/main" id="{5FA8F4B8-46A8-4712-89F8-D1093A794B2B}"/>
                </a:ext>
              </a:extLst>
            </p:cNvPr>
            <p:cNvSpPr>
              <a:spLocks/>
            </p:cNvSpPr>
            <p:nvPr/>
          </p:nvSpPr>
          <p:spPr bwMode="auto">
            <a:xfrm>
              <a:off x="4865782" y="5114308"/>
              <a:ext cx="788042"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Zimbabwe</a:t>
              </a:r>
            </a:p>
          </p:txBody>
        </p:sp>
        <p:sp>
          <p:nvSpPr>
            <p:cNvPr id="226" name="Rectangle 111">
              <a:extLst>
                <a:ext uri="{FF2B5EF4-FFF2-40B4-BE49-F238E27FC236}">
                  <a16:creationId xmlns:a16="http://schemas.microsoft.com/office/drawing/2014/main" id="{19587D96-7858-4689-9C16-EC2555DFFCEB}"/>
                </a:ext>
              </a:extLst>
            </p:cNvPr>
            <p:cNvSpPr>
              <a:spLocks/>
            </p:cNvSpPr>
            <p:nvPr/>
          </p:nvSpPr>
          <p:spPr bwMode="auto">
            <a:xfrm>
              <a:off x="6581058" y="3713535"/>
              <a:ext cx="619530"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Burundi</a:t>
              </a:r>
            </a:p>
          </p:txBody>
        </p:sp>
        <p:sp>
          <p:nvSpPr>
            <p:cNvPr id="227" name="Rectangle 112">
              <a:extLst>
                <a:ext uri="{FF2B5EF4-FFF2-40B4-BE49-F238E27FC236}">
                  <a16:creationId xmlns:a16="http://schemas.microsoft.com/office/drawing/2014/main" id="{100A8F07-C548-4468-96AC-5FA1373B8643}"/>
                </a:ext>
              </a:extLst>
            </p:cNvPr>
            <p:cNvSpPr>
              <a:spLocks/>
            </p:cNvSpPr>
            <p:nvPr/>
          </p:nvSpPr>
          <p:spPr bwMode="auto">
            <a:xfrm>
              <a:off x="2123310" y="3183710"/>
              <a:ext cx="1144891" cy="12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lnSpc>
                  <a:spcPct val="80000"/>
                </a:lnSpc>
              </a:pPr>
              <a:r>
                <a:rPr lang="en-US" altLang="en-US" sz="675" b="1">
                  <a:solidFill>
                    <a:srgbClr val="1C1C1C"/>
                  </a:solidFill>
                  <a:latin typeface="Helvetica" panose="020B0604020202020204" pitchFamily="34" charset="0"/>
                  <a:sym typeface="Helvetica" panose="020B0604020202020204" pitchFamily="34" charset="0"/>
                </a:rPr>
                <a:t>Equatorial Guinea</a:t>
              </a:r>
            </a:p>
          </p:txBody>
        </p:sp>
        <p:sp>
          <p:nvSpPr>
            <p:cNvPr id="228" name="Rectangle 114">
              <a:extLst>
                <a:ext uri="{FF2B5EF4-FFF2-40B4-BE49-F238E27FC236}">
                  <a16:creationId xmlns:a16="http://schemas.microsoft.com/office/drawing/2014/main" id="{DCEAAE5E-8BD4-44EF-8D68-89A05EBECF39}"/>
                </a:ext>
              </a:extLst>
            </p:cNvPr>
            <p:cNvSpPr>
              <a:spLocks/>
            </p:cNvSpPr>
            <p:nvPr/>
          </p:nvSpPr>
          <p:spPr bwMode="auto">
            <a:xfrm>
              <a:off x="6582151" y="3555464"/>
              <a:ext cx="661658"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Rwanda</a:t>
              </a:r>
              <a:r>
                <a:rPr lang="en-US" altLang="en-US" sz="810">
                  <a:solidFill>
                    <a:srgbClr val="1C1C1C"/>
                  </a:solidFill>
                  <a:latin typeface="Helvetica" panose="020B0604020202020204" pitchFamily="34" charset="0"/>
                  <a:sym typeface="Helvetica" panose="020B0604020202020204" pitchFamily="34" charset="0"/>
                </a:rPr>
                <a:t> </a:t>
              </a:r>
            </a:p>
          </p:txBody>
        </p:sp>
        <p:sp>
          <p:nvSpPr>
            <p:cNvPr id="229" name="Line 116">
              <a:extLst>
                <a:ext uri="{FF2B5EF4-FFF2-40B4-BE49-F238E27FC236}">
                  <a16:creationId xmlns:a16="http://schemas.microsoft.com/office/drawing/2014/main" id="{9E781F9F-AC52-4C53-AF83-893E238C8F49}"/>
                </a:ext>
              </a:extLst>
            </p:cNvPr>
            <p:cNvSpPr>
              <a:spLocks noChangeShapeType="1"/>
            </p:cNvSpPr>
            <p:nvPr/>
          </p:nvSpPr>
          <p:spPr bwMode="auto">
            <a:xfrm>
              <a:off x="2868273" y="3273223"/>
              <a:ext cx="492266" cy="41569"/>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0" name="Line 117">
              <a:extLst>
                <a:ext uri="{FF2B5EF4-FFF2-40B4-BE49-F238E27FC236}">
                  <a16:creationId xmlns:a16="http://schemas.microsoft.com/office/drawing/2014/main" id="{D4A8D66B-B882-4F46-A7EE-84D9A69D5B4C}"/>
                </a:ext>
              </a:extLst>
            </p:cNvPr>
            <p:cNvSpPr>
              <a:spLocks noChangeShapeType="1"/>
            </p:cNvSpPr>
            <p:nvPr/>
          </p:nvSpPr>
          <p:spPr bwMode="auto">
            <a:xfrm>
              <a:off x="953903" y="2196800"/>
              <a:ext cx="140022" cy="1094"/>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1" name="Line 118">
              <a:extLst>
                <a:ext uri="{FF2B5EF4-FFF2-40B4-BE49-F238E27FC236}">
                  <a16:creationId xmlns:a16="http://schemas.microsoft.com/office/drawing/2014/main" id="{CF035AF1-595C-424F-A658-09DF3EEBDA27}"/>
                </a:ext>
              </a:extLst>
            </p:cNvPr>
            <p:cNvSpPr>
              <a:spLocks noChangeShapeType="1"/>
            </p:cNvSpPr>
            <p:nvPr/>
          </p:nvSpPr>
          <p:spPr bwMode="auto">
            <a:xfrm rot="10800000" flipH="1">
              <a:off x="1021727" y="2366359"/>
              <a:ext cx="136741" cy="29536"/>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2" name="Line 119">
              <a:extLst>
                <a:ext uri="{FF2B5EF4-FFF2-40B4-BE49-F238E27FC236}">
                  <a16:creationId xmlns:a16="http://schemas.microsoft.com/office/drawing/2014/main" id="{AE26E219-7915-4876-9DDF-2B9078888C65}"/>
                </a:ext>
              </a:extLst>
            </p:cNvPr>
            <p:cNvSpPr>
              <a:spLocks noChangeShapeType="1"/>
            </p:cNvSpPr>
            <p:nvPr/>
          </p:nvSpPr>
          <p:spPr bwMode="auto">
            <a:xfrm rot="10800000" flipH="1">
              <a:off x="6344768" y="2231806"/>
              <a:ext cx="124708" cy="131271"/>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3" name="Line 120">
              <a:extLst>
                <a:ext uri="{FF2B5EF4-FFF2-40B4-BE49-F238E27FC236}">
                  <a16:creationId xmlns:a16="http://schemas.microsoft.com/office/drawing/2014/main" id="{A10ADBF9-F100-454E-8177-2BCCBD74332A}"/>
                </a:ext>
              </a:extLst>
            </p:cNvPr>
            <p:cNvSpPr>
              <a:spLocks noChangeShapeType="1"/>
            </p:cNvSpPr>
            <p:nvPr/>
          </p:nvSpPr>
          <p:spPr bwMode="auto">
            <a:xfrm rot="10800000" flipH="1">
              <a:off x="1277705" y="2705476"/>
              <a:ext cx="148774" cy="77668"/>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4" name="Freeform 123">
              <a:extLst>
                <a:ext uri="{FF2B5EF4-FFF2-40B4-BE49-F238E27FC236}">
                  <a16:creationId xmlns:a16="http://schemas.microsoft.com/office/drawing/2014/main" id="{EF63D6FB-E7F4-4F3A-9287-2408F979449C}"/>
                </a:ext>
              </a:extLst>
            </p:cNvPr>
            <p:cNvSpPr>
              <a:spLocks/>
            </p:cNvSpPr>
            <p:nvPr/>
          </p:nvSpPr>
          <p:spPr bwMode="auto">
            <a:xfrm>
              <a:off x="1126744" y="171945"/>
              <a:ext cx="1476799" cy="1279893"/>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0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1600" h="21600">
                  <a:moveTo>
                    <a:pt x="4682" y="21600"/>
                  </a:moveTo>
                  <a:lnTo>
                    <a:pt x="0" y="21590"/>
                  </a:lnTo>
                  <a:lnTo>
                    <a:pt x="748" y="19131"/>
                  </a:lnTo>
                  <a:lnTo>
                    <a:pt x="1675" y="17589"/>
                  </a:lnTo>
                  <a:lnTo>
                    <a:pt x="2989" y="16572"/>
                  </a:lnTo>
                  <a:lnTo>
                    <a:pt x="3613" y="15377"/>
                  </a:lnTo>
                  <a:lnTo>
                    <a:pt x="4392" y="13885"/>
                  </a:lnTo>
                  <a:lnTo>
                    <a:pt x="5484" y="13225"/>
                  </a:lnTo>
                  <a:lnTo>
                    <a:pt x="6228" y="11993"/>
                  </a:lnTo>
                  <a:lnTo>
                    <a:pt x="6746" y="11338"/>
                  </a:lnTo>
                  <a:lnTo>
                    <a:pt x="8145" y="10883"/>
                  </a:lnTo>
                  <a:lnTo>
                    <a:pt x="9304" y="10206"/>
                  </a:lnTo>
                  <a:lnTo>
                    <a:pt x="10722" y="9151"/>
                  </a:lnTo>
                  <a:lnTo>
                    <a:pt x="11154" y="8123"/>
                  </a:lnTo>
                  <a:lnTo>
                    <a:pt x="11258" y="6609"/>
                  </a:lnTo>
                  <a:lnTo>
                    <a:pt x="11813" y="5116"/>
                  </a:lnTo>
                  <a:lnTo>
                    <a:pt x="12505" y="4019"/>
                  </a:lnTo>
                  <a:lnTo>
                    <a:pt x="13595" y="3400"/>
                  </a:lnTo>
                  <a:lnTo>
                    <a:pt x="14840" y="3040"/>
                  </a:lnTo>
                  <a:lnTo>
                    <a:pt x="15826" y="2062"/>
                  </a:lnTo>
                  <a:lnTo>
                    <a:pt x="16468" y="1128"/>
                  </a:lnTo>
                  <a:lnTo>
                    <a:pt x="16778" y="115"/>
                  </a:lnTo>
                  <a:lnTo>
                    <a:pt x="17619" y="0"/>
                  </a:lnTo>
                  <a:lnTo>
                    <a:pt x="17843" y="868"/>
                  </a:lnTo>
                  <a:lnTo>
                    <a:pt x="19089" y="1125"/>
                  </a:lnTo>
                  <a:lnTo>
                    <a:pt x="20332" y="1245"/>
                  </a:lnTo>
                  <a:lnTo>
                    <a:pt x="20799" y="1366"/>
                  </a:lnTo>
                  <a:lnTo>
                    <a:pt x="21241" y="2525"/>
                  </a:lnTo>
                  <a:lnTo>
                    <a:pt x="21155" y="3009"/>
                  </a:lnTo>
                  <a:lnTo>
                    <a:pt x="21137" y="3999"/>
                  </a:lnTo>
                  <a:lnTo>
                    <a:pt x="21201" y="4702"/>
                  </a:lnTo>
                  <a:lnTo>
                    <a:pt x="21600" y="5293"/>
                  </a:lnTo>
                  <a:lnTo>
                    <a:pt x="21083" y="5932"/>
                  </a:lnTo>
                  <a:lnTo>
                    <a:pt x="19196" y="6140"/>
                  </a:lnTo>
                  <a:lnTo>
                    <a:pt x="18150" y="6545"/>
                  </a:lnTo>
                  <a:lnTo>
                    <a:pt x="18066" y="7572"/>
                  </a:lnTo>
                  <a:lnTo>
                    <a:pt x="16671" y="8179"/>
                  </a:lnTo>
                  <a:lnTo>
                    <a:pt x="15795" y="8941"/>
                  </a:lnTo>
                  <a:lnTo>
                    <a:pt x="14711" y="9144"/>
                  </a:lnTo>
                  <a:lnTo>
                    <a:pt x="13262" y="9477"/>
                  </a:lnTo>
                  <a:lnTo>
                    <a:pt x="11690" y="10670"/>
                  </a:lnTo>
                  <a:lnTo>
                    <a:pt x="10979" y="14522"/>
                  </a:lnTo>
                  <a:lnTo>
                    <a:pt x="7180" y="14586"/>
                  </a:lnTo>
                  <a:lnTo>
                    <a:pt x="6437" y="18436"/>
                  </a:lnTo>
                  <a:lnTo>
                    <a:pt x="5425" y="18793"/>
                  </a:lnTo>
                  <a:lnTo>
                    <a:pt x="4656" y="19708"/>
                  </a:lnTo>
                  <a:lnTo>
                    <a:pt x="4682" y="21600"/>
                  </a:lnTo>
                  <a:close/>
                  <a:moveTo>
                    <a:pt x="4682"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235" name="Rectangle 124">
              <a:extLst>
                <a:ext uri="{FF2B5EF4-FFF2-40B4-BE49-F238E27FC236}">
                  <a16:creationId xmlns:a16="http://schemas.microsoft.com/office/drawing/2014/main" id="{77F98650-543A-41E8-8296-FFAEF3B49465}"/>
                </a:ext>
              </a:extLst>
            </p:cNvPr>
            <p:cNvSpPr>
              <a:spLocks/>
            </p:cNvSpPr>
            <p:nvPr/>
          </p:nvSpPr>
          <p:spPr bwMode="auto">
            <a:xfrm rot="19240681">
              <a:off x="1763236" y="376597"/>
              <a:ext cx="778130"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Morocco</a:t>
              </a:r>
            </a:p>
          </p:txBody>
        </p:sp>
        <p:sp>
          <p:nvSpPr>
            <p:cNvPr id="236" name="Freeform 125">
              <a:extLst>
                <a:ext uri="{FF2B5EF4-FFF2-40B4-BE49-F238E27FC236}">
                  <a16:creationId xmlns:a16="http://schemas.microsoft.com/office/drawing/2014/main" id="{651870F0-303C-4469-A74D-E918A66129C3}"/>
                </a:ext>
              </a:extLst>
            </p:cNvPr>
            <p:cNvSpPr>
              <a:spLocks/>
            </p:cNvSpPr>
            <p:nvPr/>
          </p:nvSpPr>
          <p:spPr bwMode="auto">
            <a:xfrm>
              <a:off x="1138778" y="857836"/>
              <a:ext cx="766841" cy="594002"/>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0 w 21600"/>
                <a:gd name="T35" fmla="*/ 2147483646 h 21600"/>
                <a:gd name="T36" fmla="*/ 0 w 21600"/>
                <a:gd name="T37" fmla="*/ 2147483646 h 216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600" h="21600">
                  <a:moveTo>
                    <a:pt x="0" y="21600"/>
                  </a:moveTo>
                  <a:lnTo>
                    <a:pt x="8646" y="21510"/>
                  </a:lnTo>
                  <a:lnTo>
                    <a:pt x="8544" y="17818"/>
                  </a:lnTo>
                  <a:lnTo>
                    <a:pt x="10129" y="15464"/>
                  </a:lnTo>
                  <a:lnTo>
                    <a:pt x="12131" y="14592"/>
                  </a:lnTo>
                  <a:lnTo>
                    <a:pt x="13587" y="6654"/>
                  </a:lnTo>
                  <a:lnTo>
                    <a:pt x="20627" y="6782"/>
                  </a:lnTo>
                  <a:lnTo>
                    <a:pt x="21600" y="2879"/>
                  </a:lnTo>
                  <a:lnTo>
                    <a:pt x="21600" y="0"/>
                  </a:lnTo>
                  <a:lnTo>
                    <a:pt x="21073" y="1741"/>
                  </a:lnTo>
                  <a:lnTo>
                    <a:pt x="18109" y="4265"/>
                  </a:lnTo>
                  <a:lnTo>
                    <a:pt x="13498" y="5480"/>
                  </a:lnTo>
                  <a:lnTo>
                    <a:pt x="11898" y="8597"/>
                  </a:lnTo>
                  <a:lnTo>
                    <a:pt x="10377" y="11580"/>
                  </a:lnTo>
                  <a:lnTo>
                    <a:pt x="8086" y="15129"/>
                  </a:lnTo>
                  <a:lnTo>
                    <a:pt x="7323" y="18534"/>
                  </a:lnTo>
                  <a:lnTo>
                    <a:pt x="8827" y="21551"/>
                  </a:lnTo>
                  <a:lnTo>
                    <a:pt x="0" y="21600"/>
                  </a:lnTo>
                  <a:close/>
                  <a:moveTo>
                    <a:pt x="0" y="21600"/>
                  </a:moveTo>
                </a:path>
              </a:pathLst>
            </a:custGeom>
            <a:noFill/>
            <a:ln w="6350" cap="flat">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081"/>
            </a:p>
          </p:txBody>
        </p:sp>
        <p:sp>
          <p:nvSpPr>
            <p:cNvPr id="237" name="Rectangle 126">
              <a:extLst>
                <a:ext uri="{FF2B5EF4-FFF2-40B4-BE49-F238E27FC236}">
                  <a16:creationId xmlns:a16="http://schemas.microsoft.com/office/drawing/2014/main" id="{092067E1-FD28-4A8E-8A52-7FF8C25184F6}"/>
                </a:ext>
              </a:extLst>
            </p:cNvPr>
            <p:cNvSpPr>
              <a:spLocks/>
            </p:cNvSpPr>
            <p:nvPr/>
          </p:nvSpPr>
          <p:spPr bwMode="auto">
            <a:xfrm>
              <a:off x="411316" y="699956"/>
              <a:ext cx="1330751" cy="32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a:solidFill>
                    <a:srgbClr val="1C1C1C"/>
                  </a:solidFill>
                  <a:latin typeface="Helvetica" panose="020B0604020202020204" pitchFamily="34" charset="0"/>
                  <a:sym typeface="Helvetica" panose="020B0604020202020204" pitchFamily="34" charset="0"/>
                </a:rPr>
                <a:t>Sahrawi Arab</a:t>
              </a:r>
            </a:p>
            <a:p>
              <a:pPr eaLnBrk="1" hangingPunct="1"/>
              <a:r>
                <a:rPr lang="en-US" altLang="en-US" sz="675" b="1">
                  <a:solidFill>
                    <a:srgbClr val="1C1C1C"/>
                  </a:solidFill>
                  <a:latin typeface="Helvetica" panose="020B0604020202020204" pitchFamily="34" charset="0"/>
                  <a:sym typeface="Helvetica" panose="020B0604020202020204" pitchFamily="34" charset="0"/>
                </a:rPr>
                <a:t>Democratic Republic</a:t>
              </a:r>
            </a:p>
          </p:txBody>
        </p:sp>
        <p:sp>
          <p:nvSpPr>
            <p:cNvPr id="238" name="Line 127">
              <a:extLst>
                <a:ext uri="{FF2B5EF4-FFF2-40B4-BE49-F238E27FC236}">
                  <a16:creationId xmlns:a16="http://schemas.microsoft.com/office/drawing/2014/main" id="{A120C128-08DF-467A-A4B5-C317F40A6308}"/>
                </a:ext>
              </a:extLst>
            </p:cNvPr>
            <p:cNvSpPr>
              <a:spLocks noChangeShapeType="1"/>
            </p:cNvSpPr>
            <p:nvPr/>
          </p:nvSpPr>
          <p:spPr bwMode="auto">
            <a:xfrm flipV="1">
              <a:off x="5224588" y="3813622"/>
              <a:ext cx="1357562" cy="22973"/>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9" name="Line 127">
              <a:extLst>
                <a:ext uri="{FF2B5EF4-FFF2-40B4-BE49-F238E27FC236}">
                  <a16:creationId xmlns:a16="http://schemas.microsoft.com/office/drawing/2014/main" id="{A6DCF0A5-4BEE-4E36-80B6-56CB47FCDB10}"/>
                </a:ext>
              </a:extLst>
            </p:cNvPr>
            <p:cNvSpPr>
              <a:spLocks noChangeShapeType="1"/>
            </p:cNvSpPr>
            <p:nvPr/>
          </p:nvSpPr>
          <p:spPr bwMode="auto">
            <a:xfrm>
              <a:off x="1238219" y="1010798"/>
              <a:ext cx="201282" cy="271294"/>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40" name="Line 127">
              <a:extLst>
                <a:ext uri="{FF2B5EF4-FFF2-40B4-BE49-F238E27FC236}">
                  <a16:creationId xmlns:a16="http://schemas.microsoft.com/office/drawing/2014/main" id="{19D7187F-51EF-486B-9C78-091B8173EA74}"/>
                </a:ext>
              </a:extLst>
            </p:cNvPr>
            <p:cNvSpPr>
              <a:spLocks noChangeShapeType="1"/>
            </p:cNvSpPr>
            <p:nvPr/>
          </p:nvSpPr>
          <p:spPr bwMode="auto">
            <a:xfrm flipV="1">
              <a:off x="5208180" y="3661567"/>
              <a:ext cx="1373970" cy="17503"/>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41" name="Rectangle 113">
              <a:extLst>
                <a:ext uri="{FF2B5EF4-FFF2-40B4-BE49-F238E27FC236}">
                  <a16:creationId xmlns:a16="http://schemas.microsoft.com/office/drawing/2014/main" id="{AB8788A9-4011-469F-ABC8-1DF04E4245AF}"/>
                </a:ext>
              </a:extLst>
            </p:cNvPr>
            <p:cNvSpPr>
              <a:spLocks/>
            </p:cNvSpPr>
            <p:nvPr/>
          </p:nvSpPr>
          <p:spPr bwMode="auto">
            <a:xfrm>
              <a:off x="5437905" y="6357518"/>
              <a:ext cx="569968"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chemeClr val="tx1"/>
                  </a:solidFill>
                  <a:latin typeface="Helvetica" panose="020B0604020202020204" pitchFamily="34" charset="0"/>
                  <a:sym typeface="Helvetica" panose="020B0604020202020204" pitchFamily="34" charset="0"/>
                </a:rPr>
                <a:t>Lesotho</a:t>
              </a:r>
            </a:p>
          </p:txBody>
        </p:sp>
        <p:sp>
          <p:nvSpPr>
            <p:cNvPr id="242" name="Freeform 26">
              <a:extLst>
                <a:ext uri="{FF2B5EF4-FFF2-40B4-BE49-F238E27FC236}">
                  <a16:creationId xmlns:a16="http://schemas.microsoft.com/office/drawing/2014/main" id="{BACBE4CA-67CD-41BF-9B24-89BD6D7DF742}"/>
                </a:ext>
              </a:extLst>
            </p:cNvPr>
            <p:cNvSpPr>
              <a:spLocks/>
            </p:cNvSpPr>
            <p:nvPr/>
          </p:nvSpPr>
          <p:spPr bwMode="auto">
            <a:xfrm>
              <a:off x="6216779" y="2347762"/>
              <a:ext cx="899207" cy="1288644"/>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0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0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2147483646 w 21600"/>
                <a:gd name="T119" fmla="*/ 2147483646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00" h="21600">
                  <a:moveTo>
                    <a:pt x="1701" y="21600"/>
                  </a:moveTo>
                  <a:lnTo>
                    <a:pt x="474" y="20662"/>
                  </a:lnTo>
                  <a:lnTo>
                    <a:pt x="346" y="19592"/>
                  </a:lnTo>
                  <a:lnTo>
                    <a:pt x="346" y="17819"/>
                  </a:lnTo>
                  <a:lnTo>
                    <a:pt x="387" y="15988"/>
                  </a:lnTo>
                  <a:lnTo>
                    <a:pt x="0" y="14688"/>
                  </a:lnTo>
                  <a:lnTo>
                    <a:pt x="1167" y="14108"/>
                  </a:lnTo>
                  <a:lnTo>
                    <a:pt x="1743" y="13271"/>
                  </a:lnTo>
                  <a:lnTo>
                    <a:pt x="2245" y="12467"/>
                  </a:lnTo>
                  <a:lnTo>
                    <a:pt x="4089" y="12364"/>
                  </a:lnTo>
                  <a:lnTo>
                    <a:pt x="4794" y="11870"/>
                  </a:lnTo>
                  <a:lnTo>
                    <a:pt x="5836" y="11375"/>
                  </a:lnTo>
                  <a:lnTo>
                    <a:pt x="8602" y="11155"/>
                  </a:lnTo>
                  <a:lnTo>
                    <a:pt x="11481" y="9308"/>
                  </a:lnTo>
                  <a:lnTo>
                    <a:pt x="13183" y="7846"/>
                  </a:lnTo>
                  <a:lnTo>
                    <a:pt x="14791" y="6583"/>
                  </a:lnTo>
                  <a:lnTo>
                    <a:pt x="12221" y="6219"/>
                  </a:lnTo>
                  <a:lnTo>
                    <a:pt x="9588" y="5768"/>
                  </a:lnTo>
                  <a:lnTo>
                    <a:pt x="7124" y="5185"/>
                  </a:lnTo>
                  <a:lnTo>
                    <a:pt x="5876" y="4424"/>
                  </a:lnTo>
                  <a:lnTo>
                    <a:pt x="4691" y="3715"/>
                  </a:lnTo>
                  <a:lnTo>
                    <a:pt x="3655" y="2836"/>
                  </a:lnTo>
                  <a:lnTo>
                    <a:pt x="3819" y="1895"/>
                  </a:lnTo>
                  <a:lnTo>
                    <a:pt x="4638" y="1241"/>
                  </a:lnTo>
                  <a:lnTo>
                    <a:pt x="5548" y="1957"/>
                  </a:lnTo>
                  <a:lnTo>
                    <a:pt x="7021" y="3122"/>
                  </a:lnTo>
                  <a:lnTo>
                    <a:pt x="8139" y="2666"/>
                  </a:lnTo>
                  <a:lnTo>
                    <a:pt x="9831" y="1979"/>
                  </a:lnTo>
                  <a:lnTo>
                    <a:pt x="11185" y="2090"/>
                  </a:lnTo>
                  <a:lnTo>
                    <a:pt x="12739" y="1566"/>
                  </a:lnTo>
                  <a:lnTo>
                    <a:pt x="13892" y="1418"/>
                  </a:lnTo>
                  <a:lnTo>
                    <a:pt x="15457" y="1292"/>
                  </a:lnTo>
                  <a:lnTo>
                    <a:pt x="16599" y="1041"/>
                  </a:lnTo>
                  <a:lnTo>
                    <a:pt x="18132" y="724"/>
                  </a:lnTo>
                  <a:lnTo>
                    <a:pt x="19444" y="244"/>
                  </a:lnTo>
                  <a:lnTo>
                    <a:pt x="20712" y="0"/>
                  </a:lnTo>
                  <a:lnTo>
                    <a:pt x="21600" y="517"/>
                  </a:lnTo>
                  <a:lnTo>
                    <a:pt x="21399" y="1588"/>
                  </a:lnTo>
                  <a:lnTo>
                    <a:pt x="21357" y="2674"/>
                  </a:lnTo>
                  <a:lnTo>
                    <a:pt x="20997" y="3818"/>
                  </a:lnTo>
                  <a:lnTo>
                    <a:pt x="20257" y="4807"/>
                  </a:lnTo>
                  <a:lnTo>
                    <a:pt x="19496" y="6181"/>
                  </a:lnTo>
                  <a:lnTo>
                    <a:pt x="18607" y="7207"/>
                  </a:lnTo>
                  <a:lnTo>
                    <a:pt x="17941" y="8463"/>
                  </a:lnTo>
                  <a:lnTo>
                    <a:pt x="17402" y="9693"/>
                  </a:lnTo>
                  <a:lnTo>
                    <a:pt x="16566" y="10528"/>
                  </a:lnTo>
                  <a:lnTo>
                    <a:pt x="15509" y="11665"/>
                  </a:lnTo>
                  <a:lnTo>
                    <a:pt x="14652" y="12652"/>
                  </a:lnTo>
                  <a:lnTo>
                    <a:pt x="13541" y="13583"/>
                  </a:lnTo>
                  <a:lnTo>
                    <a:pt x="12198" y="14646"/>
                  </a:lnTo>
                  <a:lnTo>
                    <a:pt x="11014" y="15429"/>
                  </a:lnTo>
                  <a:lnTo>
                    <a:pt x="9682" y="15961"/>
                  </a:lnTo>
                  <a:lnTo>
                    <a:pt x="8275" y="16541"/>
                  </a:lnTo>
                  <a:lnTo>
                    <a:pt x="7112" y="17235"/>
                  </a:lnTo>
                  <a:lnTo>
                    <a:pt x="5938" y="17989"/>
                  </a:lnTo>
                  <a:lnTo>
                    <a:pt x="4711" y="18941"/>
                  </a:lnTo>
                  <a:lnTo>
                    <a:pt x="3539" y="19769"/>
                  </a:lnTo>
                  <a:lnTo>
                    <a:pt x="2429" y="20567"/>
                  </a:lnTo>
                  <a:lnTo>
                    <a:pt x="1701" y="21600"/>
                  </a:lnTo>
                  <a:close/>
                  <a:moveTo>
                    <a:pt x="1701"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243" name="Rectangle 99">
              <a:extLst>
                <a:ext uri="{FF2B5EF4-FFF2-40B4-BE49-F238E27FC236}">
                  <a16:creationId xmlns:a16="http://schemas.microsoft.com/office/drawing/2014/main" id="{8765D831-909D-4826-821C-5768EFD86537}"/>
                </a:ext>
              </a:extLst>
            </p:cNvPr>
            <p:cNvSpPr>
              <a:spLocks/>
            </p:cNvSpPr>
            <p:nvPr/>
          </p:nvSpPr>
          <p:spPr bwMode="auto">
            <a:xfrm rot="19399379">
              <a:off x="6154598" y="3079689"/>
              <a:ext cx="71617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Somalia</a:t>
              </a:r>
            </a:p>
          </p:txBody>
        </p:sp>
        <p:sp>
          <p:nvSpPr>
            <p:cNvPr id="244" name="Line 127">
              <a:extLst>
                <a:ext uri="{FF2B5EF4-FFF2-40B4-BE49-F238E27FC236}">
                  <a16:creationId xmlns:a16="http://schemas.microsoft.com/office/drawing/2014/main" id="{358E7EB0-DCA4-4786-BBD3-DF77EC689B7D}"/>
                </a:ext>
              </a:extLst>
            </p:cNvPr>
            <p:cNvSpPr>
              <a:spLocks noChangeShapeType="1"/>
            </p:cNvSpPr>
            <p:nvPr/>
          </p:nvSpPr>
          <p:spPr bwMode="auto">
            <a:xfrm flipV="1">
              <a:off x="4869713" y="6444354"/>
              <a:ext cx="452884" cy="13127"/>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45" name="Line 127">
              <a:extLst>
                <a:ext uri="{FF2B5EF4-FFF2-40B4-BE49-F238E27FC236}">
                  <a16:creationId xmlns:a16="http://schemas.microsoft.com/office/drawing/2014/main" id="{9CEA8F90-2103-45D7-999A-D35D7DEE8C87}"/>
                </a:ext>
              </a:extLst>
            </p:cNvPr>
            <p:cNvSpPr>
              <a:spLocks noChangeShapeType="1"/>
            </p:cNvSpPr>
            <p:nvPr/>
          </p:nvSpPr>
          <p:spPr bwMode="auto">
            <a:xfrm flipV="1">
              <a:off x="5270534" y="5932556"/>
              <a:ext cx="229724" cy="14221"/>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grpSp>
      <p:sp>
        <p:nvSpPr>
          <p:cNvPr id="246" name="Rectangle 245">
            <a:extLst>
              <a:ext uri="{FF2B5EF4-FFF2-40B4-BE49-F238E27FC236}">
                <a16:creationId xmlns:a16="http://schemas.microsoft.com/office/drawing/2014/main" id="{662E36B4-B712-4796-8E25-A9AE2293A36F}"/>
              </a:ext>
            </a:extLst>
          </p:cNvPr>
          <p:cNvSpPr/>
          <p:nvPr/>
        </p:nvSpPr>
        <p:spPr>
          <a:xfrm>
            <a:off x="4765542" y="5769060"/>
            <a:ext cx="210951" cy="190220"/>
          </a:xfrm>
          <a:prstGeom prst="rect">
            <a:avLst/>
          </a:prstGeom>
          <a:solidFill>
            <a:schemeClr val="bg1">
              <a:lumMod val="75000"/>
            </a:schemeClr>
          </a:solidFill>
          <a:ln w="9525" cap="flat" cmpd="sng" algn="ctr">
            <a:solidFill>
              <a:schemeClr val="tx2">
                <a:lumMod val="10000"/>
                <a:lumOff val="90000"/>
              </a:scheme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47" name="Rectangle 55">
            <a:extLst>
              <a:ext uri="{FF2B5EF4-FFF2-40B4-BE49-F238E27FC236}">
                <a16:creationId xmlns:a16="http://schemas.microsoft.com/office/drawing/2014/main" id="{A79607EA-2ABC-44CB-B8F8-0DC35799EBFB}"/>
              </a:ext>
            </a:extLst>
          </p:cNvPr>
          <p:cNvSpPr txBox="1"/>
          <p:nvPr/>
        </p:nvSpPr>
        <p:spPr>
          <a:xfrm>
            <a:off x="4681263" y="983248"/>
            <a:ext cx="3917583" cy="18094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39302A"/>
              </a:buClr>
              <a:defRPr/>
            </a:pPr>
            <a:r>
              <a:rPr lang="fr-FR" sz="1176" b="1" kern="0" dirty="0">
                <a:solidFill>
                  <a:prstClr val="black"/>
                </a:solidFill>
              </a:rPr>
              <a:t>Countries </a:t>
            </a:r>
            <a:r>
              <a:rPr lang="fr-FR" sz="1176" b="1" kern="0" dirty="0" err="1">
                <a:solidFill>
                  <a:prstClr val="black"/>
                </a:solidFill>
              </a:rPr>
              <a:t>with</a:t>
            </a:r>
            <a:r>
              <a:rPr lang="fr-FR" sz="1176" b="1" kern="0" dirty="0">
                <a:solidFill>
                  <a:prstClr val="black"/>
                </a:solidFill>
              </a:rPr>
              <a:t> ALMA </a:t>
            </a:r>
            <a:r>
              <a:rPr lang="fr-FR" sz="1176" b="1" kern="0" dirty="0" err="1">
                <a:solidFill>
                  <a:prstClr val="black"/>
                </a:solidFill>
              </a:rPr>
              <a:t>supported</a:t>
            </a:r>
            <a:r>
              <a:rPr lang="fr-FR" sz="1176" b="1" kern="0" dirty="0">
                <a:solidFill>
                  <a:prstClr val="black"/>
                </a:solidFill>
              </a:rPr>
              <a:t> </a:t>
            </a:r>
            <a:r>
              <a:rPr lang="fr-FR" sz="1176" b="1" kern="0" dirty="0" err="1">
                <a:solidFill>
                  <a:prstClr val="black"/>
                </a:solidFill>
              </a:rPr>
              <a:t>scorecards</a:t>
            </a:r>
            <a:r>
              <a:rPr lang="fr-FR" sz="1176" b="1" kern="0" dirty="0">
                <a:solidFill>
                  <a:prstClr val="black"/>
                </a:solidFill>
              </a:rPr>
              <a:t> </a:t>
            </a:r>
            <a:endParaRPr lang="en-US" sz="1176" b="1" kern="0" dirty="0">
              <a:solidFill>
                <a:prstClr val="black"/>
              </a:solidFill>
              <a:latin typeface="Arial"/>
            </a:endParaRPr>
          </a:p>
        </p:txBody>
      </p:sp>
      <p:cxnSp>
        <p:nvCxnSpPr>
          <p:cNvPr id="248" name="Straight Connector 247">
            <a:extLst>
              <a:ext uri="{FF2B5EF4-FFF2-40B4-BE49-F238E27FC236}">
                <a16:creationId xmlns:a16="http://schemas.microsoft.com/office/drawing/2014/main" id="{F606B900-A46A-4BA4-AB30-20347F1220AF}"/>
              </a:ext>
            </a:extLst>
          </p:cNvPr>
          <p:cNvCxnSpPr/>
          <p:nvPr/>
        </p:nvCxnSpPr>
        <p:spPr>
          <a:xfrm>
            <a:off x="4681263" y="1225814"/>
            <a:ext cx="4068127" cy="0"/>
          </a:xfrm>
          <a:prstGeom prst="line">
            <a:avLst/>
          </a:prstGeom>
          <a:noFill/>
          <a:ln w="9525" cap="flat" cmpd="sng" algn="ctr">
            <a:solidFill>
              <a:sysClr val="windowText" lastClr="000000"/>
            </a:solidFill>
            <a:prstDash val="solid"/>
          </a:ln>
          <a:effectLst/>
        </p:spPr>
      </p:cxnSp>
      <p:sp>
        <p:nvSpPr>
          <p:cNvPr id="249" name="TextBox 248">
            <a:extLst>
              <a:ext uri="{FF2B5EF4-FFF2-40B4-BE49-F238E27FC236}">
                <a16:creationId xmlns:a16="http://schemas.microsoft.com/office/drawing/2014/main" id="{39FB2691-4A44-44DC-B6A5-2B8B31C34C1C}"/>
              </a:ext>
            </a:extLst>
          </p:cNvPr>
          <p:cNvSpPr txBox="1"/>
          <p:nvPr/>
        </p:nvSpPr>
        <p:spPr>
          <a:xfrm>
            <a:off x="4991057" y="4728248"/>
            <a:ext cx="1176925" cy="213007"/>
          </a:xfrm>
          <a:prstGeom prst="rect">
            <a:avLst/>
          </a:prstGeom>
          <a:noFill/>
        </p:spPr>
        <p:txBody>
          <a:bodyPr wrap="none" rtlCol="0">
            <a:spAutoFit/>
          </a:bodyPr>
          <a:lstStyle/>
          <a:p>
            <a:pPr defTabSz="914206">
              <a:defRPr/>
            </a:pPr>
            <a:r>
              <a:rPr lang="en-US" sz="784" kern="0" dirty="0">
                <a:solidFill>
                  <a:prstClr val="black"/>
                </a:solidFill>
              </a:rPr>
              <a:t>Malaria and RMNCAH</a:t>
            </a:r>
          </a:p>
        </p:txBody>
      </p:sp>
      <p:sp>
        <p:nvSpPr>
          <p:cNvPr id="250" name="TextBox 249">
            <a:extLst>
              <a:ext uri="{FF2B5EF4-FFF2-40B4-BE49-F238E27FC236}">
                <a16:creationId xmlns:a16="http://schemas.microsoft.com/office/drawing/2014/main" id="{D998A0D0-576A-4EFE-B978-122EF6F02617}"/>
              </a:ext>
            </a:extLst>
          </p:cNvPr>
          <p:cNvSpPr txBox="1"/>
          <p:nvPr/>
        </p:nvSpPr>
        <p:spPr>
          <a:xfrm>
            <a:off x="4992419" y="4988767"/>
            <a:ext cx="623889" cy="213007"/>
          </a:xfrm>
          <a:prstGeom prst="rect">
            <a:avLst/>
          </a:prstGeom>
          <a:noFill/>
        </p:spPr>
        <p:txBody>
          <a:bodyPr wrap="none" rtlCol="0">
            <a:spAutoFit/>
          </a:bodyPr>
          <a:lstStyle/>
          <a:p>
            <a:pPr defTabSz="914206">
              <a:defRPr/>
            </a:pPr>
            <a:r>
              <a:rPr lang="en-US" sz="784" kern="0" dirty="0">
                <a:solidFill>
                  <a:prstClr val="black"/>
                </a:solidFill>
              </a:rPr>
              <a:t>RMNCAH</a:t>
            </a:r>
          </a:p>
        </p:txBody>
      </p:sp>
      <p:sp>
        <p:nvSpPr>
          <p:cNvPr id="251" name="TextBox 250">
            <a:extLst>
              <a:ext uri="{FF2B5EF4-FFF2-40B4-BE49-F238E27FC236}">
                <a16:creationId xmlns:a16="http://schemas.microsoft.com/office/drawing/2014/main" id="{F2A37039-321D-4D33-8B04-D022284514AD}"/>
              </a:ext>
            </a:extLst>
          </p:cNvPr>
          <p:cNvSpPr txBox="1"/>
          <p:nvPr/>
        </p:nvSpPr>
        <p:spPr>
          <a:xfrm>
            <a:off x="5005633" y="5517376"/>
            <a:ext cx="389850" cy="213007"/>
          </a:xfrm>
          <a:prstGeom prst="rect">
            <a:avLst/>
          </a:prstGeom>
          <a:noFill/>
        </p:spPr>
        <p:txBody>
          <a:bodyPr wrap="none" rtlCol="0">
            <a:spAutoFit/>
          </a:bodyPr>
          <a:lstStyle/>
          <a:p>
            <a:pPr defTabSz="914206">
              <a:defRPr/>
            </a:pPr>
            <a:r>
              <a:rPr lang="en-US" sz="784" kern="0" dirty="0">
                <a:solidFill>
                  <a:prstClr val="black"/>
                </a:solidFill>
              </a:rPr>
              <a:t>NTD</a:t>
            </a:r>
          </a:p>
        </p:txBody>
      </p:sp>
      <p:grpSp>
        <p:nvGrpSpPr>
          <p:cNvPr id="3" name="Group 2">
            <a:extLst>
              <a:ext uri="{FF2B5EF4-FFF2-40B4-BE49-F238E27FC236}">
                <a16:creationId xmlns:a16="http://schemas.microsoft.com/office/drawing/2014/main" id="{00CEEB03-087F-47FD-BE9F-27787207927F}"/>
              </a:ext>
            </a:extLst>
          </p:cNvPr>
          <p:cNvGrpSpPr/>
          <p:nvPr/>
        </p:nvGrpSpPr>
        <p:grpSpPr>
          <a:xfrm>
            <a:off x="4765542" y="5499505"/>
            <a:ext cx="210951" cy="213007"/>
            <a:chOff x="4765542" y="5508907"/>
            <a:chExt cx="210951" cy="213007"/>
          </a:xfrm>
        </p:grpSpPr>
        <p:sp>
          <p:nvSpPr>
            <p:cNvPr id="257" name="Rectangle 256">
              <a:extLst>
                <a:ext uri="{FF2B5EF4-FFF2-40B4-BE49-F238E27FC236}">
                  <a16:creationId xmlns:a16="http://schemas.microsoft.com/office/drawing/2014/main" id="{E6B6B5FE-1133-4696-AB06-1C5E35AAF10C}"/>
                </a:ext>
              </a:extLst>
            </p:cNvPr>
            <p:cNvSpPr/>
            <p:nvPr/>
          </p:nvSpPr>
          <p:spPr>
            <a:xfrm>
              <a:off x="4765542" y="5508907"/>
              <a:ext cx="210951" cy="213007"/>
            </a:xfrm>
            <a:prstGeom prst="rect">
              <a:avLst/>
            </a:prstGeom>
            <a:solidFill>
              <a:schemeClr val="accent5">
                <a:lumMod val="25000"/>
                <a:lumOff val="75000"/>
              </a:schemeClr>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53" name="5-Point Star 154">
              <a:extLst>
                <a:ext uri="{FF2B5EF4-FFF2-40B4-BE49-F238E27FC236}">
                  <a16:creationId xmlns:a16="http://schemas.microsoft.com/office/drawing/2014/main" id="{55958617-C464-4998-85AF-FD5E4019FD44}"/>
                </a:ext>
              </a:extLst>
            </p:cNvPr>
            <p:cNvSpPr/>
            <p:nvPr/>
          </p:nvSpPr>
          <p:spPr bwMode="auto">
            <a:xfrm>
              <a:off x="4794555" y="5533476"/>
              <a:ext cx="156650" cy="140065"/>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grpSp>
      <p:sp>
        <p:nvSpPr>
          <p:cNvPr id="254" name="5-Point Star 154">
            <a:extLst>
              <a:ext uri="{FF2B5EF4-FFF2-40B4-BE49-F238E27FC236}">
                <a16:creationId xmlns:a16="http://schemas.microsoft.com/office/drawing/2014/main" id="{024EBB1A-A58F-4BD6-9501-D4DDB8C943C6}"/>
              </a:ext>
            </a:extLst>
          </p:cNvPr>
          <p:cNvSpPr/>
          <p:nvPr/>
        </p:nvSpPr>
        <p:spPr bwMode="auto">
          <a:xfrm>
            <a:off x="6743038" y="3749509"/>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5" name="5-Point Star 154">
            <a:extLst>
              <a:ext uri="{FF2B5EF4-FFF2-40B4-BE49-F238E27FC236}">
                <a16:creationId xmlns:a16="http://schemas.microsoft.com/office/drawing/2014/main" id="{369AF030-C673-4603-A9D2-99E6640A199A}"/>
              </a:ext>
            </a:extLst>
          </p:cNvPr>
          <p:cNvSpPr/>
          <p:nvPr/>
        </p:nvSpPr>
        <p:spPr bwMode="auto">
          <a:xfrm>
            <a:off x="6858298" y="5201785"/>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6" name="5-Point Star 154">
            <a:extLst>
              <a:ext uri="{FF2B5EF4-FFF2-40B4-BE49-F238E27FC236}">
                <a16:creationId xmlns:a16="http://schemas.microsoft.com/office/drawing/2014/main" id="{C361910A-FA21-4FB5-9DE2-5B81531BFAE1}"/>
              </a:ext>
            </a:extLst>
          </p:cNvPr>
          <p:cNvSpPr/>
          <p:nvPr/>
        </p:nvSpPr>
        <p:spPr bwMode="auto">
          <a:xfrm>
            <a:off x="7557542" y="2719853"/>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2" name="5-Point Star 154">
            <a:extLst>
              <a:ext uri="{FF2B5EF4-FFF2-40B4-BE49-F238E27FC236}">
                <a16:creationId xmlns:a16="http://schemas.microsoft.com/office/drawing/2014/main" id="{41D994C3-82A8-4F55-A2EA-00101616F2D2}"/>
              </a:ext>
            </a:extLst>
          </p:cNvPr>
          <p:cNvSpPr/>
          <p:nvPr/>
        </p:nvSpPr>
        <p:spPr bwMode="auto">
          <a:xfrm>
            <a:off x="6045440" y="2900829"/>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8" name="5-Point Star 154">
            <a:extLst>
              <a:ext uri="{FF2B5EF4-FFF2-40B4-BE49-F238E27FC236}">
                <a16:creationId xmlns:a16="http://schemas.microsoft.com/office/drawing/2014/main" id="{9D878713-14EE-49C5-83E4-5B5CA960B8E4}"/>
              </a:ext>
            </a:extLst>
          </p:cNvPr>
          <p:cNvSpPr/>
          <p:nvPr/>
        </p:nvSpPr>
        <p:spPr bwMode="auto">
          <a:xfrm>
            <a:off x="7809958" y="4579620"/>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9" name="Rectangle 258">
            <a:extLst>
              <a:ext uri="{FF2B5EF4-FFF2-40B4-BE49-F238E27FC236}">
                <a16:creationId xmlns:a16="http://schemas.microsoft.com/office/drawing/2014/main" id="{669E2B9F-23A2-40FD-8C58-1F13D7FD97D5}"/>
              </a:ext>
            </a:extLst>
          </p:cNvPr>
          <p:cNvSpPr/>
          <p:nvPr/>
        </p:nvSpPr>
        <p:spPr>
          <a:xfrm>
            <a:off x="4767919" y="4471541"/>
            <a:ext cx="210951" cy="200352"/>
          </a:xfrm>
          <a:prstGeom prst="rect">
            <a:avLst/>
          </a:prstGeom>
          <a:solidFill>
            <a:srgbClr val="97BAFF"/>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60" name="TextBox 259">
            <a:extLst>
              <a:ext uri="{FF2B5EF4-FFF2-40B4-BE49-F238E27FC236}">
                <a16:creationId xmlns:a16="http://schemas.microsoft.com/office/drawing/2014/main" id="{14BA8853-BE70-4B35-AA44-E9E0E67AC694}"/>
              </a:ext>
            </a:extLst>
          </p:cNvPr>
          <p:cNvSpPr txBox="1"/>
          <p:nvPr/>
        </p:nvSpPr>
        <p:spPr>
          <a:xfrm>
            <a:off x="4994796" y="4462507"/>
            <a:ext cx="558166" cy="213007"/>
          </a:xfrm>
          <a:prstGeom prst="rect">
            <a:avLst/>
          </a:prstGeom>
          <a:noFill/>
        </p:spPr>
        <p:txBody>
          <a:bodyPr wrap="none" rtlCol="0">
            <a:spAutoFit/>
          </a:bodyPr>
          <a:lstStyle/>
          <a:p>
            <a:pPr defTabSz="914206">
              <a:defRPr/>
            </a:pPr>
            <a:r>
              <a:rPr lang="en-US" sz="784" kern="0" dirty="0">
                <a:solidFill>
                  <a:prstClr val="black"/>
                </a:solidFill>
              </a:rPr>
              <a:t>Nutrition</a:t>
            </a:r>
          </a:p>
        </p:txBody>
      </p:sp>
      <p:sp>
        <p:nvSpPr>
          <p:cNvPr id="261" name="5-Point Star 154">
            <a:extLst>
              <a:ext uri="{FF2B5EF4-FFF2-40B4-BE49-F238E27FC236}">
                <a16:creationId xmlns:a16="http://schemas.microsoft.com/office/drawing/2014/main" id="{D369F536-0140-44A6-B537-7A13F57DD356}"/>
              </a:ext>
            </a:extLst>
          </p:cNvPr>
          <p:cNvSpPr/>
          <p:nvPr/>
        </p:nvSpPr>
        <p:spPr bwMode="auto">
          <a:xfrm>
            <a:off x="4804075" y="4504892"/>
            <a:ext cx="156650" cy="140065"/>
          </a:xfrm>
          <a:prstGeom prst="star5">
            <a:avLst>
              <a:gd name="adj" fmla="val 12874"/>
              <a:gd name="hf" fmla="val 105146"/>
              <a:gd name="vf" fmla="val 110557"/>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2" name="5-Point Star 154">
            <a:extLst>
              <a:ext uri="{FF2B5EF4-FFF2-40B4-BE49-F238E27FC236}">
                <a16:creationId xmlns:a16="http://schemas.microsoft.com/office/drawing/2014/main" id="{7DDFB759-FB14-4E53-B6B8-CC7CEC85D482}"/>
              </a:ext>
            </a:extLst>
          </p:cNvPr>
          <p:cNvSpPr/>
          <p:nvPr/>
        </p:nvSpPr>
        <p:spPr bwMode="auto">
          <a:xfrm>
            <a:off x="7892574" y="4092930"/>
            <a:ext cx="156650" cy="140065"/>
          </a:xfrm>
          <a:prstGeom prst="star5">
            <a:avLst>
              <a:gd name="adj" fmla="val 12874"/>
              <a:gd name="hf" fmla="val 105146"/>
              <a:gd name="vf" fmla="val 110557"/>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3" name="Rectangle 262">
            <a:extLst>
              <a:ext uri="{FF2B5EF4-FFF2-40B4-BE49-F238E27FC236}">
                <a16:creationId xmlns:a16="http://schemas.microsoft.com/office/drawing/2014/main" id="{6AACF1B9-556E-4AB9-8B0A-C038B061545B}"/>
              </a:ext>
            </a:extLst>
          </p:cNvPr>
          <p:cNvSpPr/>
          <p:nvPr/>
        </p:nvSpPr>
        <p:spPr>
          <a:xfrm>
            <a:off x="4770298" y="4209600"/>
            <a:ext cx="210951" cy="200352"/>
          </a:xfrm>
          <a:prstGeom prst="rect">
            <a:avLst/>
          </a:prstGeom>
          <a:solidFill>
            <a:srgbClr val="97BAFF"/>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64" name="TextBox 263">
            <a:extLst>
              <a:ext uri="{FF2B5EF4-FFF2-40B4-BE49-F238E27FC236}">
                <a16:creationId xmlns:a16="http://schemas.microsoft.com/office/drawing/2014/main" id="{88446E3C-F1D7-4067-BFE7-D5687505E44F}"/>
              </a:ext>
            </a:extLst>
          </p:cNvPr>
          <p:cNvSpPr txBox="1"/>
          <p:nvPr/>
        </p:nvSpPr>
        <p:spPr>
          <a:xfrm>
            <a:off x="4997175" y="4200566"/>
            <a:ext cx="691215" cy="213007"/>
          </a:xfrm>
          <a:prstGeom prst="rect">
            <a:avLst/>
          </a:prstGeom>
          <a:noFill/>
        </p:spPr>
        <p:txBody>
          <a:bodyPr wrap="none" rtlCol="0">
            <a:spAutoFit/>
          </a:bodyPr>
          <a:lstStyle/>
          <a:p>
            <a:pPr defTabSz="914206">
              <a:defRPr/>
            </a:pPr>
            <a:r>
              <a:rPr lang="en-US" sz="784" kern="0" dirty="0">
                <a:solidFill>
                  <a:prstClr val="black"/>
                </a:solidFill>
              </a:rPr>
              <a:t>Community</a:t>
            </a:r>
          </a:p>
        </p:txBody>
      </p:sp>
      <p:sp>
        <p:nvSpPr>
          <p:cNvPr id="265" name="5-Point Star 154">
            <a:extLst>
              <a:ext uri="{FF2B5EF4-FFF2-40B4-BE49-F238E27FC236}">
                <a16:creationId xmlns:a16="http://schemas.microsoft.com/office/drawing/2014/main" id="{0EC10BFB-4570-4B61-BABC-F05DC3E57065}"/>
              </a:ext>
            </a:extLst>
          </p:cNvPr>
          <p:cNvSpPr/>
          <p:nvPr/>
        </p:nvSpPr>
        <p:spPr bwMode="auto">
          <a:xfrm>
            <a:off x="4806454" y="4242951"/>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6" name="5-Point Star 154">
            <a:extLst>
              <a:ext uri="{FF2B5EF4-FFF2-40B4-BE49-F238E27FC236}">
                <a16:creationId xmlns:a16="http://schemas.microsoft.com/office/drawing/2014/main" id="{F0BE587C-EEB0-4F52-A908-879C49BB11C7}"/>
              </a:ext>
            </a:extLst>
          </p:cNvPr>
          <p:cNvSpPr/>
          <p:nvPr/>
        </p:nvSpPr>
        <p:spPr bwMode="auto">
          <a:xfrm>
            <a:off x="5751814" y="3266635"/>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7" name="5-Point Star 154">
            <a:extLst>
              <a:ext uri="{FF2B5EF4-FFF2-40B4-BE49-F238E27FC236}">
                <a16:creationId xmlns:a16="http://schemas.microsoft.com/office/drawing/2014/main" id="{BFABB56C-6CC5-45E4-A2D3-D6C931CC5315}"/>
              </a:ext>
            </a:extLst>
          </p:cNvPr>
          <p:cNvSpPr/>
          <p:nvPr/>
        </p:nvSpPr>
        <p:spPr bwMode="auto">
          <a:xfrm>
            <a:off x="7887809" y="4688247"/>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8" name="5-Point Star 154">
            <a:extLst>
              <a:ext uri="{FF2B5EF4-FFF2-40B4-BE49-F238E27FC236}">
                <a16:creationId xmlns:a16="http://schemas.microsoft.com/office/drawing/2014/main" id="{553F4982-A21C-490A-8EB4-38BA4C53B9E1}"/>
              </a:ext>
            </a:extLst>
          </p:cNvPr>
          <p:cNvSpPr/>
          <p:nvPr/>
        </p:nvSpPr>
        <p:spPr bwMode="auto">
          <a:xfrm>
            <a:off x="8123555" y="3452373"/>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9" name="5-Point Star 154">
            <a:extLst>
              <a:ext uri="{FF2B5EF4-FFF2-40B4-BE49-F238E27FC236}">
                <a16:creationId xmlns:a16="http://schemas.microsoft.com/office/drawing/2014/main" id="{E2C2B49F-DB0B-47CD-9645-22116DA554BB}"/>
              </a:ext>
            </a:extLst>
          </p:cNvPr>
          <p:cNvSpPr/>
          <p:nvPr/>
        </p:nvSpPr>
        <p:spPr bwMode="auto">
          <a:xfrm>
            <a:off x="5094587" y="2952307"/>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70" name="5-Point Star 154">
            <a:extLst>
              <a:ext uri="{FF2B5EF4-FFF2-40B4-BE49-F238E27FC236}">
                <a16:creationId xmlns:a16="http://schemas.microsoft.com/office/drawing/2014/main" id="{3F598F1A-337C-4DFC-94D7-E13805EE117F}"/>
              </a:ext>
            </a:extLst>
          </p:cNvPr>
          <p:cNvSpPr/>
          <p:nvPr/>
        </p:nvSpPr>
        <p:spPr bwMode="auto">
          <a:xfrm>
            <a:off x="7329821" y="4752767"/>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Tree>
    <p:extLst>
      <p:ext uri="{BB962C8B-B14F-4D97-AF65-F5344CB8AC3E}">
        <p14:creationId xmlns:p14="http://schemas.microsoft.com/office/powerpoint/2010/main" val="8700714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854" y="1787"/>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54" y="178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Title 1">
            <a:extLst>
              <a:ext uri="{FF2B5EF4-FFF2-40B4-BE49-F238E27FC236}">
                <a16:creationId xmlns:a16="http://schemas.microsoft.com/office/drawing/2014/main" id="{83D1E52C-BC42-B74C-98EE-EBCED29AE471}"/>
              </a:ext>
            </a:extLst>
          </p:cNvPr>
          <p:cNvSpPr>
            <a:spLocks noGrp="1"/>
          </p:cNvSpPr>
          <p:nvPr>
            <p:ph type="title"/>
          </p:nvPr>
        </p:nvSpPr>
        <p:spPr bwMode="gray">
          <a:xfrm>
            <a:off x="317069" y="382856"/>
            <a:ext cx="7523659" cy="60324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1960" b="0" dirty="0"/>
              <a:t>The online scorecard management tool (web platform) includes various </a:t>
            </a:r>
            <a:r>
              <a:rPr lang="en-US" sz="1960" b="0" u="sng" dirty="0"/>
              <a:t>data visualization </a:t>
            </a:r>
            <a:r>
              <a:rPr lang="en-US" sz="1960" b="0" dirty="0"/>
              <a:t>and </a:t>
            </a:r>
            <a:r>
              <a:rPr lang="en-US" sz="1960" b="0" u="sng" dirty="0"/>
              <a:t>management functionalities</a:t>
            </a:r>
          </a:p>
        </p:txBody>
      </p:sp>
      <p:sp>
        <p:nvSpPr>
          <p:cNvPr id="11" name="Rectangle 10">
            <a:extLst>
              <a:ext uri="{FF2B5EF4-FFF2-40B4-BE49-F238E27FC236}">
                <a16:creationId xmlns:a16="http://schemas.microsoft.com/office/drawing/2014/main" id="{B9D7720F-4109-9248-94D7-C8417B770A31}"/>
              </a:ext>
            </a:extLst>
          </p:cNvPr>
          <p:cNvSpPr/>
          <p:nvPr/>
        </p:nvSpPr>
        <p:spPr>
          <a:xfrm>
            <a:off x="317069" y="809462"/>
            <a:ext cx="7976612" cy="641539"/>
          </a:xfrm>
          <a:prstGeom prst="rect">
            <a:avLst/>
          </a:prstGeom>
          <a:noFill/>
          <a:ln w="19050" cmpd="sng">
            <a:noFill/>
          </a:ln>
        </p:spPr>
        <p:style>
          <a:lnRef idx="2">
            <a:schemeClr val="accent1">
              <a:shade val="50000"/>
            </a:schemeClr>
          </a:lnRef>
          <a:fillRef idx="1">
            <a:schemeClr val="accent1"/>
          </a:fillRef>
          <a:effectRef idx="0">
            <a:schemeClr val="accent1"/>
          </a:effectRef>
          <a:fontRef idx="minor">
            <a:schemeClr val="lt1"/>
          </a:fontRef>
        </p:style>
        <p:txBody>
          <a:bodyPr lIns="150846" tIns="60339" rIns="60339" bIns="60339" rtlCol="0" anchor="t"/>
          <a:lstStyle/>
          <a:p>
            <a:pPr marL="9335" lvl="3" defTabSz="896112" fontAlgn="auto">
              <a:spcBef>
                <a:spcPts val="503"/>
              </a:spcBef>
              <a:spcAft>
                <a:spcPts val="0"/>
              </a:spcAft>
              <a:buClr>
                <a:srgbClr val="E06020"/>
              </a:buClr>
              <a:defRPr/>
            </a:pPr>
            <a:endParaRPr lang="en-GB" sz="1568" i="1" baseline="30000" dirty="0">
              <a:solidFill>
                <a:prstClr val="black"/>
              </a:solidFill>
              <a:latin typeface="Arial"/>
            </a:endParaRPr>
          </a:p>
        </p:txBody>
      </p:sp>
      <p:sp>
        <p:nvSpPr>
          <p:cNvPr id="12" name="Rectangle 11">
            <a:extLst>
              <a:ext uri="{FF2B5EF4-FFF2-40B4-BE49-F238E27FC236}">
                <a16:creationId xmlns:a16="http://schemas.microsoft.com/office/drawing/2014/main" id="{8B0811B4-00ED-684C-A508-08C82EDD3E93}"/>
              </a:ext>
            </a:extLst>
          </p:cNvPr>
          <p:cNvSpPr/>
          <p:nvPr/>
        </p:nvSpPr>
        <p:spPr>
          <a:xfrm>
            <a:off x="5949487" y="1016252"/>
            <a:ext cx="61740" cy="2643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defRPr/>
            </a:pPr>
            <a:endParaRPr lang="en-US" sz="1200" dirty="0" err="1">
              <a:solidFill>
                <a:prstClr val="black"/>
              </a:solidFill>
              <a:latin typeface="Arial"/>
            </a:endParaRPr>
          </a:p>
        </p:txBody>
      </p:sp>
      <p:sp>
        <p:nvSpPr>
          <p:cNvPr id="18" name="Rectangle 17">
            <a:extLst>
              <a:ext uri="{FF2B5EF4-FFF2-40B4-BE49-F238E27FC236}">
                <a16:creationId xmlns:a16="http://schemas.microsoft.com/office/drawing/2014/main" id="{753F45C4-8B79-284B-B54F-771C0A401C20}"/>
              </a:ext>
            </a:extLst>
          </p:cNvPr>
          <p:cNvSpPr/>
          <p:nvPr/>
        </p:nvSpPr>
        <p:spPr>
          <a:xfrm>
            <a:off x="317069" y="5933883"/>
            <a:ext cx="8327300" cy="282250"/>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GB" sz="1372" dirty="0">
                <a:solidFill>
                  <a:prstClr val="black"/>
                </a:solidFill>
                <a:latin typeface="Arial"/>
              </a:rPr>
              <a:t>Only users with accounts can access scorecards and management tools at www.malariascorecard.org</a:t>
            </a:r>
          </a:p>
        </p:txBody>
      </p:sp>
      <p:sp>
        <p:nvSpPr>
          <p:cNvPr id="19" name="Rectangle 18">
            <a:extLst>
              <a:ext uri="{FF2B5EF4-FFF2-40B4-BE49-F238E27FC236}">
                <a16:creationId xmlns:a16="http://schemas.microsoft.com/office/drawing/2014/main" id="{5E7A0FCC-B08E-3C4C-BCBC-CCB893E99797}"/>
              </a:ext>
            </a:extLst>
          </p:cNvPr>
          <p:cNvSpPr/>
          <p:nvPr/>
        </p:nvSpPr>
        <p:spPr>
          <a:xfrm>
            <a:off x="5645160" y="2876347"/>
            <a:ext cx="1576802" cy="2977394"/>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en-GB" sz="1300" dirty="0">
                <a:solidFill>
                  <a:prstClr val="black"/>
                </a:solidFill>
                <a:latin typeface="Arial"/>
              </a:rPr>
              <a:t>Tracks implementation of annual  workplans, listing key milestones and the progress of action items with clear owners and timelines, and an automated notification system</a:t>
            </a:r>
          </a:p>
        </p:txBody>
      </p:sp>
      <p:sp>
        <p:nvSpPr>
          <p:cNvPr id="20" name="Rectangle 19">
            <a:extLst>
              <a:ext uri="{FF2B5EF4-FFF2-40B4-BE49-F238E27FC236}">
                <a16:creationId xmlns:a16="http://schemas.microsoft.com/office/drawing/2014/main" id="{B505A635-FF86-F745-AD73-1B96252CB89F}"/>
              </a:ext>
            </a:extLst>
          </p:cNvPr>
          <p:cNvSpPr/>
          <p:nvPr/>
        </p:nvSpPr>
        <p:spPr>
          <a:xfrm>
            <a:off x="317069" y="2876346"/>
            <a:ext cx="1411250" cy="2991533"/>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896112" fontAlgn="auto">
              <a:spcBef>
                <a:spcPts val="294"/>
              </a:spcBef>
              <a:spcAft>
                <a:spcPts val="588"/>
              </a:spcAft>
              <a:defRPr/>
            </a:pPr>
            <a:r>
              <a:rPr lang="en-GB" sz="1300" dirty="0">
                <a:solidFill>
                  <a:prstClr val="black"/>
                </a:solidFill>
                <a:latin typeface="Arial"/>
              </a:rPr>
              <a:t>Quarterly performance of priority indicators at national, regional and district level. Some scorecards include facility level data</a:t>
            </a:r>
          </a:p>
          <a:p>
            <a:pPr defTabSz="896112" fontAlgn="auto">
              <a:spcBef>
                <a:spcPts val="294"/>
              </a:spcBef>
              <a:spcAft>
                <a:spcPts val="588"/>
              </a:spcAft>
              <a:defRPr/>
            </a:pPr>
            <a:r>
              <a:rPr lang="en-GB" sz="980" dirty="0">
                <a:solidFill>
                  <a:prstClr val="black"/>
                </a:solidFill>
                <a:latin typeface="Arial"/>
              </a:rPr>
              <a:t> </a:t>
            </a:r>
          </a:p>
        </p:txBody>
      </p:sp>
      <p:sp>
        <p:nvSpPr>
          <p:cNvPr id="21" name="Rectangle 20">
            <a:extLst>
              <a:ext uri="{FF2B5EF4-FFF2-40B4-BE49-F238E27FC236}">
                <a16:creationId xmlns:a16="http://schemas.microsoft.com/office/drawing/2014/main" id="{55302494-5AA2-7747-A28D-09BF7ED86756}"/>
              </a:ext>
            </a:extLst>
          </p:cNvPr>
          <p:cNvSpPr/>
          <p:nvPr/>
        </p:nvSpPr>
        <p:spPr>
          <a:xfrm>
            <a:off x="7404502" y="2876347"/>
            <a:ext cx="1411250" cy="2977394"/>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en-GB" sz="1300" dirty="0">
                <a:solidFill>
                  <a:prstClr val="black"/>
                </a:solidFill>
                <a:latin typeface="Arial"/>
              </a:rPr>
              <a:t>An automated SMS notification system alerts action owners on outstanding actions and approaching deadlines</a:t>
            </a:r>
          </a:p>
        </p:txBody>
      </p:sp>
      <p:sp>
        <p:nvSpPr>
          <p:cNvPr id="23" name="Rectangle 22">
            <a:extLst>
              <a:ext uri="{FF2B5EF4-FFF2-40B4-BE49-F238E27FC236}">
                <a16:creationId xmlns:a16="http://schemas.microsoft.com/office/drawing/2014/main" id="{664DD281-0CAC-C542-9C3F-F60D7EBC944D}"/>
              </a:ext>
            </a:extLst>
          </p:cNvPr>
          <p:cNvSpPr/>
          <p:nvPr/>
        </p:nvSpPr>
        <p:spPr>
          <a:xfrm>
            <a:off x="2106319" y="2902252"/>
            <a:ext cx="1411250" cy="2967587"/>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896112" fontAlgn="auto">
              <a:spcBef>
                <a:spcPts val="294"/>
              </a:spcBef>
              <a:spcAft>
                <a:spcPts val="588"/>
              </a:spcAft>
              <a:defRPr/>
            </a:pPr>
            <a:r>
              <a:rPr lang="en-GB" sz="1300" dirty="0">
                <a:solidFill>
                  <a:prstClr val="black"/>
                </a:solidFill>
                <a:latin typeface="Arial"/>
              </a:rPr>
              <a:t>Charts, maps, and other data visualisation tools provide additional context by showing indicator performance over time</a:t>
            </a:r>
            <a:endParaRPr lang="en-US" sz="1300" i="1" dirty="0">
              <a:solidFill>
                <a:prstClr val="black"/>
              </a:solidFill>
              <a:latin typeface="Arial"/>
            </a:endParaRPr>
          </a:p>
        </p:txBody>
      </p:sp>
      <p:sp>
        <p:nvSpPr>
          <p:cNvPr id="24" name="Rectangle 23">
            <a:extLst>
              <a:ext uri="{FF2B5EF4-FFF2-40B4-BE49-F238E27FC236}">
                <a16:creationId xmlns:a16="http://schemas.microsoft.com/office/drawing/2014/main" id="{5D2AEBFD-D95F-1D41-B05C-C201261CCE1D}"/>
              </a:ext>
            </a:extLst>
          </p:cNvPr>
          <p:cNvSpPr/>
          <p:nvPr/>
        </p:nvSpPr>
        <p:spPr>
          <a:xfrm>
            <a:off x="317069"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Scorecard</a:t>
            </a:r>
          </a:p>
        </p:txBody>
      </p:sp>
      <p:sp>
        <p:nvSpPr>
          <p:cNvPr id="25" name="Rectangle 24">
            <a:extLst>
              <a:ext uri="{FF2B5EF4-FFF2-40B4-BE49-F238E27FC236}">
                <a16:creationId xmlns:a16="http://schemas.microsoft.com/office/drawing/2014/main" id="{E132C5A9-D123-5248-974D-AF1764AFBA63}"/>
              </a:ext>
            </a:extLst>
          </p:cNvPr>
          <p:cNvSpPr/>
          <p:nvPr/>
        </p:nvSpPr>
        <p:spPr>
          <a:xfrm>
            <a:off x="5675440"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err="1">
                <a:solidFill>
                  <a:prstClr val="black"/>
                </a:solidFill>
                <a:latin typeface="Arial"/>
              </a:rPr>
              <a:t>Workplan</a:t>
            </a:r>
            <a:r>
              <a:rPr lang="en-US" sz="980" b="1" dirty="0">
                <a:solidFill>
                  <a:prstClr val="black"/>
                </a:solidFill>
                <a:latin typeface="Arial"/>
              </a:rPr>
              <a:t> manager</a:t>
            </a:r>
          </a:p>
        </p:txBody>
      </p:sp>
      <p:sp>
        <p:nvSpPr>
          <p:cNvPr id="26" name="Rectangle 25">
            <a:extLst>
              <a:ext uri="{FF2B5EF4-FFF2-40B4-BE49-F238E27FC236}">
                <a16:creationId xmlns:a16="http://schemas.microsoft.com/office/drawing/2014/main" id="{F4603912-B6E3-3F46-B5E2-40D2A23F1829}"/>
              </a:ext>
            </a:extLst>
          </p:cNvPr>
          <p:cNvSpPr/>
          <p:nvPr/>
        </p:nvSpPr>
        <p:spPr>
          <a:xfrm>
            <a:off x="7404353"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Mobile notifications</a:t>
            </a:r>
          </a:p>
        </p:txBody>
      </p:sp>
      <p:sp>
        <p:nvSpPr>
          <p:cNvPr id="27" name="Rectangle 26">
            <a:extLst>
              <a:ext uri="{FF2B5EF4-FFF2-40B4-BE49-F238E27FC236}">
                <a16:creationId xmlns:a16="http://schemas.microsoft.com/office/drawing/2014/main" id="{DEA3F949-1FE2-B64E-8EE1-6DDCAE6D02CF}"/>
              </a:ext>
            </a:extLst>
          </p:cNvPr>
          <p:cNvSpPr/>
          <p:nvPr/>
        </p:nvSpPr>
        <p:spPr>
          <a:xfrm>
            <a:off x="2106121" y="1228991"/>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Charts &amp; Graphs</a:t>
            </a:r>
          </a:p>
        </p:txBody>
      </p:sp>
      <p:sp>
        <p:nvSpPr>
          <p:cNvPr id="36" name="TextBox 35">
            <a:extLst>
              <a:ext uri="{FF2B5EF4-FFF2-40B4-BE49-F238E27FC236}">
                <a16:creationId xmlns:a16="http://schemas.microsoft.com/office/drawing/2014/main" id="{BCF4B636-DF53-7E49-9D4C-47BDFD334F32}"/>
              </a:ext>
            </a:extLst>
          </p:cNvPr>
          <p:cNvSpPr txBox="1"/>
          <p:nvPr/>
        </p:nvSpPr>
        <p:spPr>
          <a:xfrm>
            <a:off x="400864"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sp>
        <p:nvSpPr>
          <p:cNvPr id="38" name="TextBox 37">
            <a:extLst>
              <a:ext uri="{FF2B5EF4-FFF2-40B4-BE49-F238E27FC236}">
                <a16:creationId xmlns:a16="http://schemas.microsoft.com/office/drawing/2014/main" id="{F7C83D0C-D007-7644-81FE-01E249EDFC17}"/>
              </a:ext>
            </a:extLst>
          </p:cNvPr>
          <p:cNvSpPr txBox="1"/>
          <p:nvPr/>
        </p:nvSpPr>
        <p:spPr>
          <a:xfrm>
            <a:off x="5708437"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sp>
        <p:nvSpPr>
          <p:cNvPr id="39" name="TextBox 38">
            <a:extLst>
              <a:ext uri="{FF2B5EF4-FFF2-40B4-BE49-F238E27FC236}">
                <a16:creationId xmlns:a16="http://schemas.microsoft.com/office/drawing/2014/main" id="{8C5A5363-7A98-2E4A-B4CF-ADE3B9438403}"/>
              </a:ext>
            </a:extLst>
          </p:cNvPr>
          <p:cNvSpPr txBox="1"/>
          <p:nvPr/>
        </p:nvSpPr>
        <p:spPr>
          <a:xfrm>
            <a:off x="7463236"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sp>
        <p:nvSpPr>
          <p:cNvPr id="40" name="TextBox 39">
            <a:extLst>
              <a:ext uri="{FF2B5EF4-FFF2-40B4-BE49-F238E27FC236}">
                <a16:creationId xmlns:a16="http://schemas.microsoft.com/office/drawing/2014/main" id="{462355D8-BAB2-DE48-B9C6-9F4405DA6872}"/>
              </a:ext>
            </a:extLst>
          </p:cNvPr>
          <p:cNvSpPr txBox="1"/>
          <p:nvPr/>
        </p:nvSpPr>
        <p:spPr>
          <a:xfrm>
            <a:off x="2166115" y="2788238"/>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grpSp>
        <p:nvGrpSpPr>
          <p:cNvPr id="42" name="Group 41">
            <a:extLst>
              <a:ext uri="{FF2B5EF4-FFF2-40B4-BE49-F238E27FC236}">
                <a16:creationId xmlns:a16="http://schemas.microsoft.com/office/drawing/2014/main" id="{1F1157EB-9756-7340-BA35-77F58ED12FA6}"/>
              </a:ext>
            </a:extLst>
          </p:cNvPr>
          <p:cNvGrpSpPr/>
          <p:nvPr/>
        </p:nvGrpSpPr>
        <p:grpSpPr>
          <a:xfrm>
            <a:off x="317069" y="1575774"/>
            <a:ext cx="1411150" cy="1196366"/>
            <a:chOff x="133644" y="914400"/>
            <a:chExt cx="8827794" cy="4722437"/>
          </a:xfrm>
        </p:grpSpPr>
        <p:pic>
          <p:nvPicPr>
            <p:cNvPr id="43" name="Picture 42">
              <a:extLst>
                <a:ext uri="{FF2B5EF4-FFF2-40B4-BE49-F238E27FC236}">
                  <a16:creationId xmlns:a16="http://schemas.microsoft.com/office/drawing/2014/main" id="{53F40169-1E32-E94F-B408-FD9922B4606F}"/>
                </a:ext>
              </a:extLst>
            </p:cNvPr>
            <p:cNvPicPr>
              <a:picLocks noChangeAspect="1"/>
            </p:cNvPicPr>
            <p:nvPr/>
          </p:nvPicPr>
          <p:blipFill>
            <a:blip r:embed="rId5"/>
            <a:stretch>
              <a:fillRect/>
            </a:stretch>
          </p:blipFill>
          <p:spPr>
            <a:xfrm>
              <a:off x="133644" y="1152525"/>
              <a:ext cx="8827794" cy="4484312"/>
            </a:xfrm>
            <a:prstGeom prst="rect">
              <a:avLst/>
            </a:prstGeom>
          </p:spPr>
        </p:pic>
        <p:sp>
          <p:nvSpPr>
            <p:cNvPr id="44" name="Rectangle 43">
              <a:extLst>
                <a:ext uri="{FF2B5EF4-FFF2-40B4-BE49-F238E27FC236}">
                  <a16:creationId xmlns:a16="http://schemas.microsoft.com/office/drawing/2014/main" id="{08365004-4028-B544-AE2E-5E5726633752}"/>
                </a:ext>
              </a:extLst>
            </p:cNvPr>
            <p:cNvSpPr/>
            <p:nvPr/>
          </p:nvSpPr>
          <p:spPr>
            <a:xfrm>
              <a:off x="8096250" y="914400"/>
              <a:ext cx="855663" cy="79057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defRPr/>
              </a:pPr>
              <a:endParaRPr lang="en-GB" sz="1800" dirty="0" err="1">
                <a:solidFill>
                  <a:prstClr val="black"/>
                </a:solidFill>
                <a:latin typeface="Arial"/>
              </a:endParaRPr>
            </a:p>
          </p:txBody>
        </p:sp>
      </p:grpSp>
      <p:grpSp>
        <p:nvGrpSpPr>
          <p:cNvPr id="45" name="Group 44">
            <a:extLst>
              <a:ext uri="{FF2B5EF4-FFF2-40B4-BE49-F238E27FC236}">
                <a16:creationId xmlns:a16="http://schemas.microsoft.com/office/drawing/2014/main" id="{07C9B54F-DE5B-8C4E-88ED-61AA0F43D8D5}"/>
              </a:ext>
            </a:extLst>
          </p:cNvPr>
          <p:cNvGrpSpPr/>
          <p:nvPr/>
        </p:nvGrpSpPr>
        <p:grpSpPr>
          <a:xfrm>
            <a:off x="7564299" y="1734735"/>
            <a:ext cx="1103527" cy="802435"/>
            <a:chOff x="5798774" y="1916033"/>
            <a:chExt cx="1174861" cy="1151364"/>
          </a:xfrm>
        </p:grpSpPr>
        <p:pic>
          <p:nvPicPr>
            <p:cNvPr id="46" name="Picture 145" descr="Image result for mobile phone">
              <a:extLst>
                <a:ext uri="{FF2B5EF4-FFF2-40B4-BE49-F238E27FC236}">
                  <a16:creationId xmlns:a16="http://schemas.microsoft.com/office/drawing/2014/main" id="{CEB5CE35-30DF-604D-AE1D-3216B3AF82D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98774" y="1916033"/>
              <a:ext cx="1174861" cy="115136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D4939547-7A5F-7543-BCD9-CDCFBC05C382}"/>
                </a:ext>
              </a:extLst>
            </p:cNvPr>
            <p:cNvPicPr>
              <a:picLocks noChangeAspect="1"/>
            </p:cNvPicPr>
            <p:nvPr/>
          </p:nvPicPr>
          <p:blipFill>
            <a:blip r:embed="rId7" cstate="print"/>
            <a:stretch>
              <a:fillRect/>
            </a:stretch>
          </p:blipFill>
          <p:spPr>
            <a:xfrm>
              <a:off x="5852597" y="2051954"/>
              <a:ext cx="507668" cy="879521"/>
            </a:xfrm>
            <a:prstGeom prst="rect">
              <a:avLst/>
            </a:prstGeom>
          </p:spPr>
        </p:pic>
        <p:pic>
          <p:nvPicPr>
            <p:cNvPr id="48" name="Picture 47">
              <a:extLst>
                <a:ext uri="{FF2B5EF4-FFF2-40B4-BE49-F238E27FC236}">
                  <a16:creationId xmlns:a16="http://schemas.microsoft.com/office/drawing/2014/main" id="{E23D3A25-7CBE-154C-A1BB-541C522B3AF4}"/>
                </a:ext>
              </a:extLst>
            </p:cNvPr>
            <p:cNvPicPr>
              <a:picLocks noChangeAspect="1"/>
            </p:cNvPicPr>
            <p:nvPr/>
          </p:nvPicPr>
          <p:blipFill>
            <a:blip r:embed="rId8" cstate="print"/>
            <a:stretch>
              <a:fillRect/>
            </a:stretch>
          </p:blipFill>
          <p:spPr>
            <a:xfrm>
              <a:off x="6428445" y="2051954"/>
              <a:ext cx="502013" cy="879521"/>
            </a:xfrm>
            <a:prstGeom prst="rect">
              <a:avLst/>
            </a:prstGeom>
          </p:spPr>
        </p:pic>
      </p:grpSp>
      <p:sp>
        <p:nvSpPr>
          <p:cNvPr id="50" name="Rectangle 49">
            <a:extLst>
              <a:ext uri="{FF2B5EF4-FFF2-40B4-BE49-F238E27FC236}">
                <a16:creationId xmlns:a16="http://schemas.microsoft.com/office/drawing/2014/main" id="{D50B3A2F-4D5A-4944-84A8-9D070FF8885F}"/>
              </a:ext>
            </a:extLst>
          </p:cNvPr>
          <p:cNvSpPr/>
          <p:nvPr/>
        </p:nvSpPr>
        <p:spPr>
          <a:xfrm>
            <a:off x="3946419" y="1212893"/>
            <a:ext cx="1411250" cy="352813"/>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white">
                    <a:lumMod val="75000"/>
                  </a:prstClr>
                </a:solidFill>
                <a:latin typeface="Arial"/>
              </a:rPr>
              <a:t>Action tracker</a:t>
            </a:r>
          </a:p>
        </p:txBody>
      </p:sp>
      <p:sp>
        <p:nvSpPr>
          <p:cNvPr id="51" name="Rectangle 50">
            <a:extLst>
              <a:ext uri="{FF2B5EF4-FFF2-40B4-BE49-F238E27FC236}">
                <a16:creationId xmlns:a16="http://schemas.microsoft.com/office/drawing/2014/main" id="{43C32A81-1549-154B-8DBE-78F9E5F939B2}"/>
              </a:ext>
            </a:extLst>
          </p:cNvPr>
          <p:cNvSpPr/>
          <p:nvPr/>
        </p:nvSpPr>
        <p:spPr>
          <a:xfrm>
            <a:off x="3844104" y="2886154"/>
            <a:ext cx="1576802" cy="2967587"/>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en-GB" sz="1300" dirty="0">
                <a:solidFill>
                  <a:prstClr val="black"/>
                </a:solidFill>
                <a:latin typeface="Arial"/>
              </a:rPr>
              <a:t>Used to assign actions with deadlines to action “owners”. It includes a progress field showing implementation status and an automated notification system   </a:t>
            </a:r>
          </a:p>
          <a:p>
            <a:pPr algn="ctr" defTabSz="969766" fontAlgn="auto">
              <a:spcBef>
                <a:spcPts val="294"/>
              </a:spcBef>
              <a:spcAft>
                <a:spcPts val="588"/>
              </a:spcAft>
              <a:buClr>
                <a:srgbClr val="FFD200"/>
              </a:buClr>
              <a:buSzPct val="70000"/>
              <a:defRPr/>
            </a:pPr>
            <a:endParaRPr lang="en-US" sz="1300" dirty="0">
              <a:solidFill>
                <a:prstClr val="black"/>
              </a:solidFill>
              <a:latin typeface="Arial"/>
            </a:endParaRPr>
          </a:p>
        </p:txBody>
      </p:sp>
      <p:sp>
        <p:nvSpPr>
          <p:cNvPr id="52" name="Rectangle 51">
            <a:extLst>
              <a:ext uri="{FF2B5EF4-FFF2-40B4-BE49-F238E27FC236}">
                <a16:creationId xmlns:a16="http://schemas.microsoft.com/office/drawing/2014/main" id="{2D81E220-C5BC-E544-90AA-475192EEF87E}"/>
              </a:ext>
            </a:extLst>
          </p:cNvPr>
          <p:cNvSpPr/>
          <p:nvPr/>
        </p:nvSpPr>
        <p:spPr>
          <a:xfrm>
            <a:off x="3946419"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Action tracker</a:t>
            </a:r>
          </a:p>
        </p:txBody>
      </p:sp>
      <p:sp>
        <p:nvSpPr>
          <p:cNvPr id="55" name="TextBox 54">
            <a:extLst>
              <a:ext uri="{FF2B5EF4-FFF2-40B4-BE49-F238E27FC236}">
                <a16:creationId xmlns:a16="http://schemas.microsoft.com/office/drawing/2014/main" id="{C5F55D34-4501-2347-8C40-0AA677250226}"/>
              </a:ext>
            </a:extLst>
          </p:cNvPr>
          <p:cNvSpPr txBox="1"/>
          <p:nvPr/>
        </p:nvSpPr>
        <p:spPr>
          <a:xfrm>
            <a:off x="4011147"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pic>
        <p:nvPicPr>
          <p:cNvPr id="56" name="Picture 55">
            <a:extLst>
              <a:ext uri="{FF2B5EF4-FFF2-40B4-BE49-F238E27FC236}">
                <a16:creationId xmlns:a16="http://schemas.microsoft.com/office/drawing/2014/main" id="{247AB418-DCC5-F443-8B5D-6261A79CAB3D}"/>
              </a:ext>
            </a:extLst>
          </p:cNvPr>
          <p:cNvPicPr>
            <a:picLocks noChangeAspect="1"/>
          </p:cNvPicPr>
          <p:nvPr/>
        </p:nvPicPr>
        <p:blipFill>
          <a:blip r:embed="rId9"/>
          <a:stretch>
            <a:fillRect/>
          </a:stretch>
        </p:blipFill>
        <p:spPr>
          <a:xfrm>
            <a:off x="3946377" y="1685147"/>
            <a:ext cx="1411250" cy="972288"/>
          </a:xfrm>
          <a:prstGeom prst="rect">
            <a:avLst/>
          </a:prstGeom>
        </p:spPr>
      </p:pic>
      <p:pic>
        <p:nvPicPr>
          <p:cNvPr id="57" name="Picture 56">
            <a:extLst>
              <a:ext uri="{FF2B5EF4-FFF2-40B4-BE49-F238E27FC236}">
                <a16:creationId xmlns:a16="http://schemas.microsoft.com/office/drawing/2014/main" id="{635CE2C2-7240-6D40-986B-B90824D92D4B}"/>
              </a:ext>
            </a:extLst>
          </p:cNvPr>
          <p:cNvPicPr>
            <a:picLocks noChangeAspect="1"/>
          </p:cNvPicPr>
          <p:nvPr/>
        </p:nvPicPr>
        <p:blipFill rotWithShape="1">
          <a:blip r:embed="rId10"/>
          <a:srcRect b="25469"/>
          <a:stretch/>
        </p:blipFill>
        <p:spPr>
          <a:xfrm>
            <a:off x="2040727" y="1725586"/>
            <a:ext cx="1542039" cy="976369"/>
          </a:xfrm>
          <a:prstGeom prst="rect">
            <a:avLst/>
          </a:prstGeom>
        </p:spPr>
      </p:pic>
      <p:pic>
        <p:nvPicPr>
          <p:cNvPr id="58" name="Picture 57">
            <a:extLst>
              <a:ext uri="{FF2B5EF4-FFF2-40B4-BE49-F238E27FC236}">
                <a16:creationId xmlns:a16="http://schemas.microsoft.com/office/drawing/2014/main" id="{33982121-3E65-D14E-9EB9-1E3E3CE4E0E5}"/>
              </a:ext>
            </a:extLst>
          </p:cNvPr>
          <p:cNvPicPr>
            <a:picLocks noChangeAspect="1"/>
          </p:cNvPicPr>
          <p:nvPr/>
        </p:nvPicPr>
        <p:blipFill rotWithShape="1">
          <a:blip r:embed="rId11"/>
          <a:srcRect t="14220" r="63586" b="29390"/>
          <a:stretch/>
        </p:blipFill>
        <p:spPr>
          <a:xfrm>
            <a:off x="5704446" y="1734735"/>
            <a:ext cx="1376299" cy="851019"/>
          </a:xfrm>
          <a:prstGeom prst="rect">
            <a:avLst/>
          </a:prstGeom>
        </p:spPr>
      </p:pic>
      <p:pic>
        <p:nvPicPr>
          <p:cNvPr id="59" name="Picture 58">
            <a:extLst>
              <a:ext uri="{FF2B5EF4-FFF2-40B4-BE49-F238E27FC236}">
                <a16:creationId xmlns:a16="http://schemas.microsoft.com/office/drawing/2014/main" id="{614243B4-FDF8-DF4D-8D83-8C96A85613C4}"/>
              </a:ext>
            </a:extLst>
          </p:cNvPr>
          <p:cNvPicPr>
            <a:picLocks noChangeAspect="1"/>
          </p:cNvPicPr>
          <p:nvPr/>
        </p:nvPicPr>
        <p:blipFill rotWithShape="1">
          <a:blip r:embed="rId11"/>
          <a:srcRect t="14220" r="87705" b="75011"/>
          <a:stretch/>
        </p:blipFill>
        <p:spPr>
          <a:xfrm>
            <a:off x="5618224" y="1674191"/>
            <a:ext cx="974191" cy="262019"/>
          </a:xfrm>
          <a:prstGeom prst="rect">
            <a:avLst/>
          </a:prstGeom>
        </p:spPr>
      </p:pic>
    </p:spTree>
    <p:extLst>
      <p:ext uri="{BB962C8B-B14F-4D97-AF65-F5344CB8AC3E}">
        <p14:creationId xmlns:p14="http://schemas.microsoft.com/office/powerpoint/2010/main" val="32651001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5C1C5-D7D0-4775-9546-39070EEBEB6D}"/>
              </a:ext>
            </a:extLst>
          </p:cNvPr>
          <p:cNvSpPr>
            <a:spLocks noGrp="1"/>
          </p:cNvSpPr>
          <p:nvPr>
            <p:ph type="title"/>
          </p:nvPr>
        </p:nvSpPr>
        <p:spPr/>
        <p:txBody>
          <a:bodyPr/>
          <a:lstStyle/>
          <a:p>
            <a:endParaRPr lang="en-US"/>
          </a:p>
        </p:txBody>
      </p:sp>
      <p:pic>
        <p:nvPicPr>
          <p:cNvPr id="3" name="Online Media 2" title="Country scorecard management tool overview">
            <a:hlinkClick r:id="" action="ppaction://media"/>
            <a:extLst>
              <a:ext uri="{FF2B5EF4-FFF2-40B4-BE49-F238E27FC236}">
                <a16:creationId xmlns:a16="http://schemas.microsoft.com/office/drawing/2014/main" id="{219EA04F-FB16-445D-97E0-9B845D8887A7}"/>
              </a:ext>
            </a:extLst>
          </p:cNvPr>
          <p:cNvPicPr>
            <a:picLocks noRot="1" noChangeAspect="1"/>
          </p:cNvPicPr>
          <p:nvPr>
            <a:videoFile r:link="rId1"/>
          </p:nvPr>
        </p:nvPicPr>
        <p:blipFill>
          <a:blip r:embed="rId3"/>
          <a:stretch>
            <a:fillRect/>
          </a:stretch>
        </p:blipFill>
        <p:spPr>
          <a:xfrm>
            <a:off x="185531" y="181354"/>
            <a:ext cx="8143461" cy="6107597"/>
          </a:xfrm>
          <a:prstGeom prst="rect">
            <a:avLst/>
          </a:prstGeom>
        </p:spPr>
      </p:pic>
      <p:sp>
        <p:nvSpPr>
          <p:cNvPr id="4" name="Title 2">
            <a:extLst>
              <a:ext uri="{FF2B5EF4-FFF2-40B4-BE49-F238E27FC236}">
                <a16:creationId xmlns:a16="http://schemas.microsoft.com/office/drawing/2014/main" id="{E5101215-F2DC-4D02-B641-0576B8A59C12}"/>
              </a:ext>
            </a:extLst>
          </p:cNvPr>
          <p:cNvSpPr txBox="1">
            <a:spLocks/>
          </p:cNvSpPr>
          <p:nvPr/>
        </p:nvSpPr>
        <p:spPr bwMode="auto">
          <a:xfrm>
            <a:off x="0" y="6225701"/>
            <a:ext cx="722008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br>
              <a:rPr lang="fr-FR" sz="1200" kern="0" dirty="0">
                <a:solidFill>
                  <a:srgbClr val="0070C0"/>
                </a:solidFill>
              </a:rPr>
            </a:br>
            <a:r>
              <a:rPr lang="fr-FR" sz="1200" kern="0" dirty="0">
                <a:solidFill>
                  <a:srgbClr val="0070C0"/>
                </a:solidFill>
              </a:rPr>
              <a:t>Download </a:t>
            </a:r>
            <a:r>
              <a:rPr lang="fr-FR" sz="1200" kern="0" dirty="0" err="1">
                <a:solidFill>
                  <a:srgbClr val="0070C0"/>
                </a:solidFill>
              </a:rPr>
              <a:t>video</a:t>
            </a:r>
            <a:r>
              <a:rPr lang="fr-FR" sz="1200" kern="0" dirty="0">
                <a:solidFill>
                  <a:srgbClr val="0070C0"/>
                </a:solidFill>
              </a:rPr>
              <a:t> </a:t>
            </a:r>
            <a:r>
              <a:rPr lang="fr-FR" sz="1200" kern="0" dirty="0" err="1">
                <a:solidFill>
                  <a:srgbClr val="0070C0"/>
                </a:solidFill>
              </a:rPr>
              <a:t>from</a:t>
            </a:r>
            <a:r>
              <a:rPr lang="fr-FR" sz="1200" kern="0" dirty="0">
                <a:solidFill>
                  <a:srgbClr val="0070C0"/>
                </a:solidFill>
              </a:rPr>
              <a:t> </a:t>
            </a:r>
            <a:r>
              <a:rPr lang="fr-FR" sz="1200" kern="0" dirty="0" err="1">
                <a:solidFill>
                  <a:srgbClr val="0070C0"/>
                </a:solidFill>
              </a:rPr>
              <a:t>dropbox</a:t>
            </a:r>
            <a:r>
              <a:rPr lang="fr-FR" sz="1200" kern="0" dirty="0">
                <a:solidFill>
                  <a:srgbClr val="0070C0"/>
                </a:solidFill>
              </a:rPr>
              <a:t> </a:t>
            </a:r>
            <a:r>
              <a:rPr lang="fr-FR" sz="1200" kern="0" dirty="0" err="1">
                <a:solidFill>
                  <a:srgbClr val="0070C0"/>
                </a:solidFill>
              </a:rPr>
              <a:t>here</a:t>
            </a:r>
            <a:r>
              <a:rPr lang="fr-FR" sz="1200" kern="0" dirty="0">
                <a:solidFill>
                  <a:srgbClr val="0070C0"/>
                </a:solidFill>
              </a:rPr>
              <a:t>: </a:t>
            </a:r>
            <a:r>
              <a:rPr lang="en-US" sz="1200" kern="0"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Country scorecard management tool overview Video</a:t>
            </a:r>
            <a:endParaRPr lang="en-US" sz="1200" kern="0" dirty="0">
              <a:solidFill>
                <a:schemeClr val="accent5">
                  <a:lumMod val="50000"/>
                  <a:lumOff val="50000"/>
                </a:schemeClr>
              </a:solidFill>
            </a:endParaRPr>
          </a:p>
        </p:txBody>
      </p:sp>
    </p:spTree>
    <p:extLst>
      <p:ext uri="{BB962C8B-B14F-4D97-AF65-F5344CB8AC3E}">
        <p14:creationId xmlns:p14="http://schemas.microsoft.com/office/powerpoint/2010/main" val="392836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57755" y="4402444"/>
            <a:ext cx="7118733" cy="732965"/>
          </a:xfrm>
        </p:spPr>
        <p:txBody>
          <a:bodyPr/>
          <a:lstStyle/>
          <a:p>
            <a:pPr>
              <a:buNone/>
            </a:pPr>
            <a:r>
              <a:rPr lang="en-US" dirty="0"/>
              <a:t>ALMA Scorecard Hub</a:t>
            </a:r>
          </a:p>
        </p:txBody>
      </p:sp>
      <p:sp>
        <p:nvSpPr>
          <p:cNvPr id="7" name="Text Placeholder 6">
            <a:extLst>
              <a:ext uri="{FF2B5EF4-FFF2-40B4-BE49-F238E27FC236}">
                <a16:creationId xmlns:a16="http://schemas.microsoft.com/office/drawing/2014/main" id="{39FAC108-A62A-415D-93C8-A09A882BC532}"/>
              </a:ext>
            </a:extLst>
          </p:cNvPr>
          <p:cNvSpPr>
            <a:spLocks noGrp="1"/>
          </p:cNvSpPr>
          <p:nvPr>
            <p:ph type="body" sz="quarter" idx="12"/>
          </p:nvPr>
        </p:nvSpPr>
        <p:spPr>
          <a:xfrm>
            <a:off x="457755" y="5220674"/>
            <a:ext cx="8276892" cy="700513"/>
          </a:xfrm>
        </p:spPr>
        <p:txBody>
          <a:bodyPr/>
          <a:lstStyle/>
          <a:p>
            <a:r>
              <a:rPr lang="en-US" dirty="0"/>
              <a:t>How to continue learning about the scorecard to strengthen implementation </a:t>
            </a:r>
          </a:p>
        </p:txBody>
      </p:sp>
      <p:pic>
        <p:nvPicPr>
          <p:cNvPr id="2" name="Picture 1">
            <a:extLst>
              <a:ext uri="{FF2B5EF4-FFF2-40B4-BE49-F238E27FC236}">
                <a16:creationId xmlns:a16="http://schemas.microsoft.com/office/drawing/2014/main" id="{7F40F5B5-12EE-D04B-97F0-6854E6147169}"/>
              </a:ext>
            </a:extLst>
          </p:cNvPr>
          <p:cNvPicPr>
            <a:picLocks noChangeAspect="1"/>
          </p:cNvPicPr>
          <p:nvPr/>
        </p:nvPicPr>
        <p:blipFill>
          <a:blip r:embed="rId2"/>
          <a:stretch>
            <a:fillRect/>
          </a:stretch>
        </p:blipFill>
        <p:spPr>
          <a:xfrm>
            <a:off x="0" y="79467"/>
            <a:ext cx="5088212" cy="1264946"/>
          </a:xfrm>
          <a:prstGeom prst="rect">
            <a:avLst/>
          </a:prstGeom>
        </p:spPr>
      </p:pic>
      <p:sp>
        <p:nvSpPr>
          <p:cNvPr id="3" name="Rectangle 2">
            <a:extLst>
              <a:ext uri="{FF2B5EF4-FFF2-40B4-BE49-F238E27FC236}">
                <a16:creationId xmlns:a16="http://schemas.microsoft.com/office/drawing/2014/main" id="{11E8BBC3-A38C-594E-893D-3526A8619457}"/>
              </a:ext>
            </a:extLst>
          </p:cNvPr>
          <p:cNvSpPr/>
          <p:nvPr/>
        </p:nvSpPr>
        <p:spPr>
          <a:xfrm>
            <a:off x="5077010" y="79467"/>
            <a:ext cx="3884428" cy="12649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5B36562-0837-C749-8BF9-71BECD01BCE7}"/>
              </a:ext>
            </a:extLst>
          </p:cNvPr>
          <p:cNvSpPr txBox="1"/>
          <p:nvPr/>
        </p:nvSpPr>
        <p:spPr>
          <a:xfrm>
            <a:off x="5088211" y="440472"/>
            <a:ext cx="3234724" cy="542937"/>
          </a:xfrm>
          <a:prstGeom prst="rect">
            <a:avLst/>
          </a:prstGeom>
        </p:spPr>
        <p:txBody>
          <a:bodyPr vert="horz" wrap="square" lIns="0" tIns="0" rIns="0" bIns="0" rtlCol="0">
            <a:spAutoFit/>
          </a:bodyPr>
          <a:lstStyle/>
          <a:p>
            <a:pPr algn="ctr" defTabSz="896112" fontAlgn="auto">
              <a:spcBef>
                <a:spcPts val="0"/>
              </a:spcBef>
              <a:spcAft>
                <a:spcPts val="0"/>
              </a:spcAft>
            </a:pPr>
            <a:r>
              <a:rPr lang="en-US" sz="1764" dirty="0">
                <a:solidFill>
                  <a:prstClr val="black"/>
                </a:solidFill>
                <a:latin typeface="Arial" panose="020B0604020202020204" pitchFamily="34" charset="0"/>
                <a:cs typeface="Arial" panose="020B0604020202020204" pitchFamily="34" charset="0"/>
                <a:hlinkClick r:id="rId3"/>
              </a:rPr>
              <a:t>www.scorecardhub.org</a:t>
            </a:r>
            <a:endParaRPr lang="en-US" sz="1764" dirty="0">
              <a:solidFill>
                <a:prstClr val="black"/>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764"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881925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5DB66-9E3F-4386-9163-D13CF8239E43}"/>
              </a:ext>
            </a:extLst>
          </p:cNvPr>
          <p:cNvSpPr>
            <a:spLocks noGrp="1"/>
          </p:cNvSpPr>
          <p:nvPr>
            <p:ph type="title" idx="4294967295"/>
          </p:nvPr>
        </p:nvSpPr>
        <p:spPr>
          <a:xfrm>
            <a:off x="1076861" y="962657"/>
            <a:ext cx="8065294" cy="434375"/>
          </a:xfrm>
        </p:spPr>
        <p:txBody>
          <a:bodyPr>
            <a:noAutofit/>
          </a:bodyPr>
          <a:lstStyle/>
          <a:p>
            <a:r>
              <a:rPr lang="en-US" sz="3000" b="1" dirty="0">
                <a:latin typeface="Arial" panose="020B0604020202020204" pitchFamily="34" charset="0"/>
                <a:cs typeface="Arial" panose="020B0604020202020204" pitchFamily="34" charset="0"/>
              </a:rPr>
              <a:t>How to access scorecards</a:t>
            </a:r>
          </a:p>
        </p:txBody>
      </p:sp>
      <p:sp>
        <p:nvSpPr>
          <p:cNvPr id="3" name="Title 1">
            <a:extLst>
              <a:ext uri="{FF2B5EF4-FFF2-40B4-BE49-F238E27FC236}">
                <a16:creationId xmlns:a16="http://schemas.microsoft.com/office/drawing/2014/main" id="{B3E2BBA0-7A52-4EE9-ABBC-9A3A95C671B6}"/>
              </a:ext>
            </a:extLst>
          </p:cNvPr>
          <p:cNvSpPr txBox="1">
            <a:spLocks/>
          </p:cNvSpPr>
          <p:nvPr/>
        </p:nvSpPr>
        <p:spPr bwMode="auto">
          <a:xfrm>
            <a:off x="697693" y="1674455"/>
            <a:ext cx="7998312" cy="4370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kumimoji="0" lang="en-US" sz="2400" b="0" i="0" u="none" strike="noStrike" kern="1200" cap="none" spc="0" normalizeH="0" baseline="0" noProof="0" dirty="0">
                <a:ln>
                  <a:noFill/>
                </a:ln>
                <a:solidFill>
                  <a:srgbClr val="3C4245"/>
                </a:solidFill>
                <a:effectLst/>
                <a:uLnTx/>
                <a:uFillTx/>
                <a:latin typeface="Arial" panose="020B0604020202020204" pitchFamily="34" charset="0"/>
                <a:ea typeface="+mj-ea"/>
                <a:cs typeface="+mj-cs"/>
              </a:rPr>
              <a:t>ALMA Scorecard Hub: Country Scorecards and ALMA</a:t>
            </a:r>
          </a:p>
          <a:p>
            <a:pPr marL="919162" lvl="1" indent="-285750">
              <a:spcBef>
                <a:spcPts val="1200"/>
              </a:spcBef>
              <a:buFont typeface="Arial" panose="020B0604020202020204" pitchFamily="34" charset="0"/>
              <a:buChar char="•"/>
              <a:tabLst>
                <a:tab pos="269875" algn="l"/>
              </a:tabLst>
            </a:pPr>
            <a:r>
              <a:rPr lang="en-US" sz="2400" b="0" dirty="0">
                <a:solidFill>
                  <a:srgbClr val="3C4245"/>
                </a:solidFill>
                <a:latin typeface="Arial" panose="020B0604020202020204" pitchFamily="34" charset="0"/>
                <a:ea typeface="+mj-ea"/>
                <a:cs typeface="+mj-cs"/>
                <a:hlinkClick r:id="rId2"/>
              </a:rPr>
              <a:t>www.scorecardhub.org</a:t>
            </a:r>
            <a:r>
              <a:rPr lang="en-US" sz="2400" b="0" dirty="0">
                <a:solidFill>
                  <a:srgbClr val="3C4245"/>
                </a:solidFill>
                <a:latin typeface="Arial" panose="020B0604020202020204" pitchFamily="34" charset="0"/>
                <a:ea typeface="+mj-ea"/>
                <a:cs typeface="+mj-cs"/>
              </a:rPr>
              <a:t> </a:t>
            </a:r>
            <a:endParaRPr kumimoji="0" lang="en-US" sz="2400" b="0" i="0" u="none" strike="noStrike" kern="1200" cap="none" spc="0" normalizeH="0" baseline="0" noProof="0" dirty="0">
              <a:ln>
                <a:noFill/>
              </a:ln>
              <a:solidFill>
                <a:srgbClr val="3C4245"/>
              </a:solidFill>
              <a:effectLst/>
              <a:uLnTx/>
              <a:uFillTx/>
              <a:latin typeface="Arial" panose="020B0604020202020204" pitchFamily="34" charset="0"/>
              <a:ea typeface="+mj-ea"/>
              <a:cs typeface="+mj-cs"/>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400" b="0" dirty="0">
                <a:solidFill>
                  <a:srgbClr val="3C4245"/>
                </a:solidFill>
                <a:latin typeface="Arial" panose="020B0604020202020204" pitchFamily="34" charset="0"/>
              </a:rPr>
              <a:t>Scorecard Web Platform (private): Country scorecard</a:t>
            </a:r>
          </a:p>
          <a:p>
            <a:pPr marL="919162" lvl="1" indent="-285750">
              <a:spcBef>
                <a:spcPts val="1200"/>
              </a:spcBef>
              <a:buFont typeface="Arial" panose="020B0604020202020204" pitchFamily="34" charset="0"/>
              <a:buChar char="•"/>
              <a:tabLst>
                <a:tab pos="269875" algn="l"/>
              </a:tabLst>
            </a:pPr>
            <a:r>
              <a:rPr kumimoji="0" lang="en-US" sz="2400" b="0" i="0" u="none" strike="noStrike" kern="1200" cap="none" spc="0" normalizeH="0" baseline="0" noProof="0" dirty="0">
                <a:ln>
                  <a:noFill/>
                </a:ln>
                <a:solidFill>
                  <a:srgbClr val="3C4245"/>
                </a:solidFill>
                <a:effectLst/>
                <a:uLnTx/>
                <a:uFillTx/>
                <a:latin typeface="Arial" panose="020B0604020202020204" pitchFamily="34" charset="0"/>
                <a:ea typeface="+mj-ea"/>
                <a:cs typeface="+mj-cs"/>
                <a:hlinkClick r:id="rId3"/>
              </a:rPr>
              <a:t>www.malariascorecard.org</a:t>
            </a:r>
            <a:r>
              <a:rPr kumimoji="0" lang="en-US" sz="2400" b="0" i="0" u="none" strike="noStrike" kern="1200" cap="none" spc="0" normalizeH="0" baseline="0" noProof="0" dirty="0">
                <a:ln>
                  <a:noFill/>
                </a:ln>
                <a:solidFill>
                  <a:srgbClr val="3C4245"/>
                </a:solidFill>
                <a:effectLst/>
                <a:uLnTx/>
                <a:uFillTx/>
                <a:latin typeface="Arial" panose="020B0604020202020204" pitchFamily="34" charset="0"/>
                <a:ea typeface="+mj-ea"/>
                <a:cs typeface="+mj-cs"/>
              </a:rPr>
              <a:t> / </a:t>
            </a:r>
            <a:r>
              <a:rPr kumimoji="0" lang="en-US" sz="2400" b="0" i="0" u="none" strike="noStrike" kern="1200" cap="none" spc="0" normalizeH="0" baseline="0" noProof="0" dirty="0">
                <a:ln>
                  <a:noFill/>
                </a:ln>
                <a:solidFill>
                  <a:srgbClr val="3C4245"/>
                </a:solidFill>
                <a:effectLst/>
                <a:uLnTx/>
                <a:uFillTx/>
                <a:latin typeface="Arial" panose="020B0604020202020204" pitchFamily="34" charset="0"/>
                <a:ea typeface="+mj-ea"/>
                <a:cs typeface="+mj-cs"/>
                <a:hlinkClick r:id="rId4"/>
              </a:rPr>
              <a:t>www.rmncah.org</a:t>
            </a:r>
            <a:r>
              <a:rPr kumimoji="0" lang="en-US" sz="2400" b="0" i="0" u="none" strike="noStrike" kern="1200" cap="none" spc="0" normalizeH="0" baseline="0" noProof="0" dirty="0">
                <a:ln>
                  <a:noFill/>
                </a:ln>
                <a:solidFill>
                  <a:srgbClr val="3C4245"/>
                </a:solidFill>
                <a:effectLst/>
                <a:uLnTx/>
                <a:uFillTx/>
                <a:latin typeface="Arial" panose="020B0604020202020204" pitchFamily="34" charset="0"/>
                <a:ea typeface="+mj-ea"/>
                <a:cs typeface="+mj-cs"/>
              </a:rPr>
              <a:t> </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r>
              <a:rPr lang="en-US" sz="2400" b="0" dirty="0">
                <a:solidFill>
                  <a:srgbClr val="3C4245"/>
                </a:solidFill>
                <a:latin typeface="Arial" panose="020B0604020202020204" pitchFamily="34" charset="0"/>
              </a:rPr>
              <a:t>ALMA website: ALMA scorecard and quarterly reports</a:t>
            </a:r>
          </a:p>
          <a:p>
            <a:pPr marL="919162" lvl="1" indent="-285750">
              <a:spcBef>
                <a:spcPts val="1200"/>
              </a:spcBef>
              <a:buFont typeface="Arial" panose="020B0604020202020204" pitchFamily="34" charset="0"/>
              <a:buChar char="•"/>
              <a:tabLst>
                <a:tab pos="269875" algn="l"/>
              </a:tabLst>
            </a:pPr>
            <a:r>
              <a:rPr kumimoji="0" lang="en-US" sz="2400" b="0" i="0" u="none" strike="noStrike" kern="0" cap="none" spc="0" normalizeH="0" baseline="0" noProof="0" dirty="0">
                <a:ln>
                  <a:noFill/>
                </a:ln>
                <a:solidFill>
                  <a:srgbClr val="3C4245"/>
                </a:solidFill>
                <a:effectLst/>
                <a:uLnTx/>
                <a:uFillTx/>
                <a:latin typeface="Arial" panose="020B0604020202020204" pitchFamily="34" charset="0"/>
                <a:ea typeface="+mj-ea"/>
                <a:cs typeface="+mj-cs"/>
                <a:hlinkClick r:id="rId5"/>
              </a:rPr>
              <a:t>www.alma2030.org</a:t>
            </a:r>
            <a:r>
              <a:rPr kumimoji="0" lang="en-US" sz="2400" b="0" i="0" u="none" strike="noStrike" kern="0" cap="none" spc="0" normalizeH="0" baseline="0" noProof="0" dirty="0">
                <a:ln>
                  <a:noFill/>
                </a:ln>
                <a:solidFill>
                  <a:srgbClr val="3C4245"/>
                </a:solidFill>
                <a:effectLst/>
                <a:uLnTx/>
                <a:uFillTx/>
                <a:latin typeface="Arial" panose="020B0604020202020204" pitchFamily="34" charset="0"/>
                <a:ea typeface="+mj-ea"/>
                <a:cs typeface="+mj-cs"/>
              </a:rPr>
              <a:t> </a:t>
            </a: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kumimoji="0" lang="en-US" sz="1600" b="0" i="0" u="none" strike="noStrike" kern="0" cap="none" spc="0" normalizeH="0" baseline="0" noProof="0" dirty="0">
              <a:ln>
                <a:noFill/>
              </a:ln>
              <a:solidFill>
                <a:srgbClr val="3C4245"/>
              </a:solidFill>
              <a:effectLst/>
              <a:uLnTx/>
              <a:uFillTx/>
              <a:latin typeface="Arial" panose="020B0604020202020204" pitchFamily="34" charset="0"/>
              <a:ea typeface="+mj-ea"/>
              <a:cs typeface="+mj-cs"/>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kumimoji="0" lang="en-US" sz="2800" b="0" i="0" u="none" strike="noStrike" kern="0" cap="none" spc="0" normalizeH="0" baseline="0" noProof="0" dirty="0">
              <a:ln>
                <a:noFill/>
              </a:ln>
              <a:solidFill>
                <a:srgbClr val="38529C"/>
              </a:solidFill>
              <a:effectLst/>
              <a:uLnTx/>
              <a:uFillTx/>
              <a:latin typeface="Calibri Light" panose="020F0302020204030204"/>
              <a:ea typeface="+mj-ea"/>
              <a:cs typeface="+mj-cs"/>
            </a:endParaRPr>
          </a:p>
          <a:p>
            <a:pPr marL="461962" marR="0" lvl="0" indent="-285750" algn="l" defTabSz="895350" rtl="0" eaLnBrk="1" fontAlgn="base" latinLnBrk="0" hangingPunct="1">
              <a:lnSpc>
                <a:spcPct val="100000"/>
              </a:lnSpc>
              <a:spcBef>
                <a:spcPts val="1200"/>
              </a:spcBef>
              <a:spcAft>
                <a:spcPct val="0"/>
              </a:spcAft>
              <a:buClrTx/>
              <a:buSzTx/>
              <a:buFont typeface="Arial" panose="020B0604020202020204" pitchFamily="34" charset="0"/>
              <a:buChar char="•"/>
              <a:tabLst>
                <a:tab pos="269875" algn="l"/>
              </a:tabLst>
              <a:defRPr/>
            </a:pPr>
            <a:endParaRPr kumimoji="0" lang="en-US" sz="1600" b="0" i="0" u="none" strike="noStrike" kern="1200" cap="none" spc="0" normalizeH="0" baseline="0" noProof="0" dirty="0">
              <a:ln>
                <a:noFill/>
              </a:ln>
              <a:solidFill>
                <a:srgbClr val="3C4245"/>
              </a:solidFill>
              <a:effectLst/>
              <a:uLnTx/>
              <a:uFillTx/>
              <a:latin typeface="Arial" panose="020B0604020202020204" pitchFamily="34" charset="0"/>
              <a:ea typeface="+mj-ea"/>
              <a:cs typeface="+mj-cs"/>
            </a:endParaRPr>
          </a:p>
        </p:txBody>
      </p:sp>
    </p:spTree>
    <p:extLst>
      <p:ext uri="{BB962C8B-B14F-4D97-AF65-F5344CB8AC3E}">
        <p14:creationId xmlns:p14="http://schemas.microsoft.com/office/powerpoint/2010/main" val="39440299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3E6C7-D9C0-4310-8E32-8B9D6ED32381}"/>
              </a:ext>
            </a:extLst>
          </p:cNvPr>
          <p:cNvSpPr>
            <a:spLocks noGrp="1"/>
          </p:cNvSpPr>
          <p:nvPr>
            <p:ph type="title"/>
          </p:nvPr>
        </p:nvSpPr>
        <p:spPr>
          <a:xfrm>
            <a:off x="532088" y="424047"/>
            <a:ext cx="7897265" cy="1044546"/>
          </a:xfrm>
        </p:spPr>
        <p:txBody>
          <a:bodyPr>
            <a:normAutofit fontScale="90000"/>
          </a:bodyPr>
          <a:lstStyle/>
          <a:p>
            <a:r>
              <a:rPr lang="en-US" sz="3234" dirty="0"/>
              <a:t>How to login to the Scorecard Web Platform</a:t>
            </a:r>
            <a:br>
              <a:rPr lang="en-US" sz="3234" dirty="0"/>
            </a:br>
            <a:r>
              <a:rPr lang="en-US" sz="3234" dirty="0"/>
              <a:t>* a national admin can add an account</a:t>
            </a:r>
            <a:br>
              <a:rPr lang="en-US" sz="3234" dirty="0"/>
            </a:br>
            <a:br>
              <a:rPr lang="en-US" u="sng" dirty="0">
                <a:solidFill>
                  <a:schemeClr val="tx1">
                    <a:lumMod val="75000"/>
                    <a:lumOff val="25000"/>
                  </a:schemeClr>
                </a:solidFill>
                <a:hlinkClick r:id="rId2">
                  <a:extLst>
                    <a:ext uri="{A12FA001-AC4F-418D-AE19-62706E023703}">
                      <ahyp:hlinkClr xmlns:ahyp="http://schemas.microsoft.com/office/drawing/2018/hyperlinkcolor" val="tx"/>
                    </a:ext>
                  </a:extLst>
                </a:hlinkClick>
              </a:rPr>
            </a:br>
            <a:br>
              <a:rPr lang="en-US" u="sng" dirty="0">
                <a:solidFill>
                  <a:schemeClr val="tx1">
                    <a:lumMod val="75000"/>
                    <a:lumOff val="25000"/>
                  </a:schemeClr>
                </a:solidFill>
              </a:rPr>
            </a:br>
            <a:br>
              <a:rPr lang="en-US" u="sng" dirty="0">
                <a:solidFill>
                  <a:schemeClr val="tx1">
                    <a:lumMod val="75000"/>
                    <a:lumOff val="25000"/>
                  </a:schemeClr>
                </a:solidFill>
              </a:rPr>
            </a:br>
            <a:br>
              <a:rPr lang="en-US" u="sng" dirty="0">
                <a:solidFill>
                  <a:schemeClr val="tx1">
                    <a:lumMod val="75000"/>
                    <a:lumOff val="25000"/>
                  </a:schemeClr>
                </a:solidFill>
              </a:rPr>
            </a:br>
            <a:endParaRPr lang="en-US" u="sng" dirty="0">
              <a:solidFill>
                <a:schemeClr val="tx1">
                  <a:lumMod val="75000"/>
                  <a:lumOff val="25000"/>
                </a:schemeClr>
              </a:solidFill>
            </a:endParaRPr>
          </a:p>
        </p:txBody>
      </p:sp>
      <p:sp>
        <p:nvSpPr>
          <p:cNvPr id="11" name="TextBox 10">
            <a:extLst>
              <a:ext uri="{FF2B5EF4-FFF2-40B4-BE49-F238E27FC236}">
                <a16:creationId xmlns:a16="http://schemas.microsoft.com/office/drawing/2014/main" id="{61C6CFCC-D3D9-46F9-AC06-3464B6CD274F}"/>
              </a:ext>
            </a:extLst>
          </p:cNvPr>
          <p:cNvSpPr txBox="1"/>
          <p:nvPr/>
        </p:nvSpPr>
        <p:spPr>
          <a:xfrm>
            <a:off x="2731105" y="3779739"/>
            <a:ext cx="4480719" cy="409023"/>
          </a:xfrm>
          <a:prstGeom prst="rect">
            <a:avLst/>
          </a:prstGeom>
          <a:noFill/>
        </p:spPr>
        <p:txBody>
          <a:bodyPr wrap="square">
            <a:spAutoFit/>
          </a:bodyPr>
          <a:lstStyle/>
          <a:p>
            <a:r>
              <a:rPr lang="en-US" sz="2058" b="1" dirty="0">
                <a:solidFill>
                  <a:prstClr val="black">
                    <a:lumMod val="75000"/>
                    <a:lumOff val="25000"/>
                  </a:prstClr>
                </a:solidFill>
                <a:latin typeface="Arial" panose="020B0604020202020204" pitchFamily="34" charset="0"/>
                <a:ea typeface="+mj-ea"/>
                <a:cs typeface="Arial" panose="020B0604020202020204" pitchFamily="34" charset="0"/>
              </a:rPr>
              <a:t>new.demoscorecard.org</a:t>
            </a:r>
            <a:endParaRPr lang="en-US" sz="2058" dirty="0"/>
          </a:p>
        </p:txBody>
      </p:sp>
      <p:sp>
        <p:nvSpPr>
          <p:cNvPr id="15" name="TextBox 14">
            <a:extLst>
              <a:ext uri="{FF2B5EF4-FFF2-40B4-BE49-F238E27FC236}">
                <a16:creationId xmlns:a16="http://schemas.microsoft.com/office/drawing/2014/main" id="{0F0E1115-05DA-45D7-8D3D-97D941B9B761}"/>
              </a:ext>
            </a:extLst>
          </p:cNvPr>
          <p:cNvSpPr txBox="1"/>
          <p:nvPr/>
        </p:nvSpPr>
        <p:spPr>
          <a:xfrm>
            <a:off x="2731105" y="2026295"/>
            <a:ext cx="4480719" cy="1042401"/>
          </a:xfrm>
          <a:prstGeom prst="rect">
            <a:avLst/>
          </a:prstGeom>
          <a:noFill/>
        </p:spPr>
        <p:txBody>
          <a:bodyPr wrap="square">
            <a:spAutoFit/>
          </a:bodyPr>
          <a:lstStyle/>
          <a:p>
            <a:r>
              <a:rPr lang="en-US" sz="2058" b="1" dirty="0">
                <a:solidFill>
                  <a:prstClr val="black">
                    <a:lumMod val="75000"/>
                    <a:lumOff val="25000"/>
                  </a:prstClr>
                </a:solidFill>
                <a:latin typeface="Arial" panose="020B0604020202020204" pitchFamily="34" charset="0"/>
                <a:ea typeface="+mj-ea"/>
                <a:cs typeface="Arial" panose="020B0604020202020204" pitchFamily="34" charset="0"/>
              </a:rPr>
              <a:t>www.malariascorecard.org</a:t>
            </a:r>
            <a:br>
              <a:rPr lang="en-US" sz="2058" b="1" dirty="0">
                <a:solidFill>
                  <a:prstClr val="black">
                    <a:lumMod val="75000"/>
                    <a:lumOff val="25000"/>
                  </a:prstClr>
                </a:solidFill>
                <a:latin typeface="Arial" panose="020B0604020202020204" pitchFamily="34" charset="0"/>
                <a:ea typeface="+mj-ea"/>
                <a:cs typeface="Arial" panose="020B0604020202020204" pitchFamily="34" charset="0"/>
                <a:hlinkClick r:id="rId2">
                  <a:extLst>
                    <a:ext uri="{A12FA001-AC4F-418D-AE19-62706E023703}">
                      <ahyp:hlinkClr xmlns:ahyp="http://schemas.microsoft.com/office/drawing/2018/hyperlinkcolor" val="tx"/>
                    </a:ext>
                  </a:extLst>
                </a:hlinkClick>
              </a:rPr>
            </a:br>
            <a:br>
              <a:rPr lang="en-US" sz="2058" b="1" dirty="0">
                <a:solidFill>
                  <a:prstClr val="black">
                    <a:lumMod val="75000"/>
                    <a:lumOff val="25000"/>
                  </a:prstClr>
                </a:solidFill>
                <a:latin typeface="Arial" panose="020B0604020202020204" pitchFamily="34" charset="0"/>
                <a:ea typeface="+mj-ea"/>
                <a:cs typeface="Arial" panose="020B0604020202020204" pitchFamily="34" charset="0"/>
                <a:hlinkClick r:id="rId2">
                  <a:extLst>
                    <a:ext uri="{A12FA001-AC4F-418D-AE19-62706E023703}">
                      <ahyp:hlinkClr xmlns:ahyp="http://schemas.microsoft.com/office/drawing/2018/hyperlinkcolor" val="tx"/>
                    </a:ext>
                  </a:extLst>
                </a:hlinkClick>
              </a:rPr>
            </a:br>
            <a:r>
              <a:rPr lang="en-US" sz="2058" b="1" dirty="0">
                <a:solidFill>
                  <a:prstClr val="black">
                    <a:lumMod val="75000"/>
                    <a:lumOff val="25000"/>
                  </a:prstClr>
                </a:solidFill>
                <a:latin typeface="Arial" panose="020B0604020202020204" pitchFamily="34" charset="0"/>
                <a:ea typeface="+mj-ea"/>
                <a:cs typeface="Arial" panose="020B0604020202020204" pitchFamily="34" charset="0"/>
              </a:rPr>
              <a:t>www.rmncah.org</a:t>
            </a:r>
            <a:endParaRPr lang="en-US" sz="1764" dirty="0"/>
          </a:p>
        </p:txBody>
      </p:sp>
      <p:cxnSp>
        <p:nvCxnSpPr>
          <p:cNvPr id="17" name="Straight Connector 16">
            <a:extLst>
              <a:ext uri="{FF2B5EF4-FFF2-40B4-BE49-F238E27FC236}">
                <a16:creationId xmlns:a16="http://schemas.microsoft.com/office/drawing/2014/main" id="{6C8DD40A-6C0E-427A-9E16-03D2F390AEC7}"/>
              </a:ext>
            </a:extLst>
          </p:cNvPr>
          <p:cNvCxnSpPr>
            <a:cxnSpLocks/>
          </p:cNvCxnSpPr>
          <p:nvPr/>
        </p:nvCxnSpPr>
        <p:spPr>
          <a:xfrm>
            <a:off x="532087" y="3578391"/>
            <a:ext cx="7976708" cy="0"/>
          </a:xfrm>
          <a:prstGeom prst="line">
            <a:avLst/>
          </a:prstGeom>
          <a:ln w="38100">
            <a:solidFill>
              <a:srgbClr val="5F5F5F"/>
            </a:solidFill>
          </a:ln>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35C40EBD-C082-4701-B564-82ADF38EF19B}"/>
              </a:ext>
            </a:extLst>
          </p:cNvPr>
          <p:cNvSpPr/>
          <p:nvPr/>
        </p:nvSpPr>
        <p:spPr>
          <a:xfrm>
            <a:off x="532087" y="1813387"/>
            <a:ext cx="1868297" cy="1563656"/>
          </a:xfrm>
          <a:prstGeom prst="rect">
            <a:avLst/>
          </a:prstGeom>
          <a:solidFill>
            <a:srgbClr val="6D9DB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29" b="1"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AE3887AE-BC00-43C9-9868-3175913474AE}"/>
              </a:ext>
            </a:extLst>
          </p:cNvPr>
          <p:cNvSpPr txBox="1"/>
          <p:nvPr/>
        </p:nvSpPr>
        <p:spPr>
          <a:xfrm>
            <a:off x="3543653" y="4136094"/>
            <a:ext cx="4480719" cy="1359090"/>
          </a:xfrm>
          <a:prstGeom prst="rect">
            <a:avLst/>
          </a:prstGeom>
          <a:noFill/>
        </p:spPr>
        <p:txBody>
          <a:bodyPr wrap="square">
            <a:spAutoFit/>
          </a:bodyPr>
          <a:lstStyle/>
          <a:p>
            <a:endParaRPr lang="en-US" sz="2058" b="1" dirty="0">
              <a:solidFill>
                <a:prstClr val="black">
                  <a:lumMod val="75000"/>
                  <a:lumOff val="25000"/>
                </a:prstClr>
              </a:solidFill>
              <a:latin typeface="Arial" panose="020B0604020202020204" pitchFamily="34" charset="0"/>
              <a:ea typeface="+mj-ea"/>
              <a:cs typeface="Arial" panose="020B0604020202020204" pitchFamily="34" charset="0"/>
            </a:endParaRPr>
          </a:p>
          <a:p>
            <a:r>
              <a:rPr lang="en-US" sz="2058" b="1" dirty="0">
                <a:solidFill>
                  <a:prstClr val="black">
                    <a:lumMod val="75000"/>
                    <a:lumOff val="25000"/>
                  </a:prstClr>
                </a:solidFill>
                <a:latin typeface="Arial" panose="020B0604020202020204" pitchFamily="34" charset="0"/>
                <a:ea typeface="+mj-ea"/>
                <a:cs typeface="Arial" panose="020B0604020202020204" pitchFamily="34" charset="0"/>
              </a:rPr>
              <a:t>Username: user 1</a:t>
            </a:r>
          </a:p>
          <a:p>
            <a:endParaRPr lang="en-US" sz="2058" b="1" dirty="0">
              <a:solidFill>
                <a:prstClr val="black">
                  <a:lumMod val="75000"/>
                  <a:lumOff val="25000"/>
                </a:prstClr>
              </a:solidFill>
              <a:latin typeface="Arial" panose="020B0604020202020204" pitchFamily="34" charset="0"/>
              <a:ea typeface="+mj-ea"/>
              <a:cs typeface="Arial" panose="020B0604020202020204" pitchFamily="34" charset="0"/>
            </a:endParaRPr>
          </a:p>
          <a:p>
            <a:r>
              <a:rPr lang="en-US" sz="2058" b="1" dirty="0">
                <a:solidFill>
                  <a:prstClr val="black">
                    <a:lumMod val="75000"/>
                    <a:lumOff val="25000"/>
                  </a:prstClr>
                </a:solidFill>
                <a:latin typeface="Arial" panose="020B0604020202020204" pitchFamily="34" charset="0"/>
                <a:ea typeface="+mj-ea"/>
                <a:cs typeface="Arial" panose="020B0604020202020204" pitchFamily="34" charset="0"/>
              </a:rPr>
              <a:t>Password: 123456</a:t>
            </a:r>
            <a:endParaRPr lang="en-US" sz="1764" dirty="0"/>
          </a:p>
        </p:txBody>
      </p:sp>
      <p:sp>
        <p:nvSpPr>
          <p:cNvPr id="22" name="Rectangle 21">
            <a:extLst>
              <a:ext uri="{FF2B5EF4-FFF2-40B4-BE49-F238E27FC236}">
                <a16:creationId xmlns:a16="http://schemas.microsoft.com/office/drawing/2014/main" id="{F6EB5F20-410D-44B5-AF64-02433B5F35D5}"/>
              </a:ext>
            </a:extLst>
          </p:cNvPr>
          <p:cNvSpPr/>
          <p:nvPr/>
        </p:nvSpPr>
        <p:spPr>
          <a:xfrm>
            <a:off x="532088" y="3810767"/>
            <a:ext cx="1868297" cy="1794986"/>
          </a:xfrm>
          <a:prstGeom prst="rect">
            <a:avLst/>
          </a:prstGeom>
          <a:solidFill>
            <a:srgbClr val="6D9DB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58" b="1" dirty="0">
                <a:solidFill>
                  <a:schemeClr val="bg1"/>
                </a:solidFill>
                <a:latin typeface="Arial" panose="020B0604020202020204" pitchFamily="34" charset="0"/>
                <a:ea typeface="+mj-ea"/>
                <a:cs typeface="Arial" panose="020B0604020202020204" pitchFamily="34" charset="0"/>
              </a:rPr>
              <a:t>Access the demo site</a:t>
            </a:r>
            <a:endParaRPr lang="en-US" sz="2058" dirty="0">
              <a:solidFill>
                <a:schemeClr val="bg1"/>
              </a:solidFill>
            </a:endParaRPr>
          </a:p>
        </p:txBody>
      </p:sp>
      <p:sp>
        <p:nvSpPr>
          <p:cNvPr id="24" name="TextBox 23">
            <a:extLst>
              <a:ext uri="{FF2B5EF4-FFF2-40B4-BE49-F238E27FC236}">
                <a16:creationId xmlns:a16="http://schemas.microsoft.com/office/drawing/2014/main" id="{DD1A4220-7544-41E5-B4FA-78D6F119C5B9}"/>
              </a:ext>
            </a:extLst>
          </p:cNvPr>
          <p:cNvSpPr txBox="1"/>
          <p:nvPr/>
        </p:nvSpPr>
        <p:spPr>
          <a:xfrm>
            <a:off x="679277" y="1918343"/>
            <a:ext cx="1668600" cy="1359090"/>
          </a:xfrm>
          <a:prstGeom prst="rect">
            <a:avLst/>
          </a:prstGeom>
          <a:noFill/>
        </p:spPr>
        <p:txBody>
          <a:bodyPr wrap="square">
            <a:spAutoFit/>
          </a:bodyPr>
          <a:lstStyle/>
          <a:p>
            <a:r>
              <a:rPr lang="en-US" sz="2058" b="1" dirty="0">
                <a:solidFill>
                  <a:schemeClr val="bg1"/>
                </a:solidFill>
                <a:latin typeface="Arial" panose="020B0604020202020204" pitchFamily="34" charset="0"/>
                <a:ea typeface="+mj-ea"/>
                <a:cs typeface="Arial" panose="020B0604020202020204" pitchFamily="34" charset="0"/>
              </a:rPr>
              <a:t>Access real site if you have an account</a:t>
            </a:r>
            <a:endParaRPr lang="en-US" sz="2058" dirty="0">
              <a:solidFill>
                <a:schemeClr val="bg1"/>
              </a:solidFill>
            </a:endParaRPr>
          </a:p>
        </p:txBody>
      </p:sp>
    </p:spTree>
    <p:extLst>
      <p:ext uri="{BB962C8B-B14F-4D97-AF65-F5344CB8AC3E}">
        <p14:creationId xmlns:p14="http://schemas.microsoft.com/office/powerpoint/2010/main" val="1122628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xEl>
                                              <p:pRg st="1" end="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8" grpId="0" animBg="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52359-B955-4E30-A54F-CAD1D1DA3D95}"/>
              </a:ext>
            </a:extLst>
          </p:cNvPr>
          <p:cNvSpPr>
            <a:spLocks noGrp="1"/>
          </p:cNvSpPr>
          <p:nvPr>
            <p:ph type="title"/>
          </p:nvPr>
        </p:nvSpPr>
        <p:spPr>
          <a:xfrm>
            <a:off x="3115727" y="2940021"/>
            <a:ext cx="2616150" cy="775597"/>
          </a:xfrm>
        </p:spPr>
        <p:txBody>
          <a:bodyPr/>
          <a:lstStyle/>
          <a:p>
            <a:r>
              <a:rPr lang="en-US" sz="2800" dirty="0"/>
              <a:t>END OF DAY 1</a:t>
            </a:r>
          </a:p>
        </p:txBody>
      </p:sp>
      <p:sp>
        <p:nvSpPr>
          <p:cNvPr id="5" name="Text Placeholder 4">
            <a:extLst>
              <a:ext uri="{FF2B5EF4-FFF2-40B4-BE49-F238E27FC236}">
                <a16:creationId xmlns:a16="http://schemas.microsoft.com/office/drawing/2014/main" id="{BAF69A0C-68FF-472C-998E-19AF3F5087D5}"/>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5872773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85B17C85-56ED-4CDA-BBC0-FD62BF55A551}"/>
              </a:ext>
            </a:extLst>
          </p:cNvPr>
          <p:cNvSpPr txBox="1">
            <a:spLocks/>
          </p:cNvSpPr>
          <p:nvPr/>
        </p:nvSpPr>
        <p:spPr>
          <a:xfrm>
            <a:off x="455710" y="4397165"/>
            <a:ext cx="8048430" cy="1302857"/>
          </a:xfrm>
          <a:prstGeom prst="rect">
            <a:avLst/>
          </a:prstGeom>
        </p:spPr>
        <p:txBody>
          <a:bodyPr vert="horz" wrap="square" lIns="0" tIns="0" rIns="0" bIns="0" rtlCol="0" anchor="ctr">
            <a:spAutoFit/>
          </a:bodyPr>
          <a:lstStyle>
            <a:lvl1pPr algn="l" defTabSz="672067" rtl="0" eaLnBrk="1" latinLnBrk="0" hangingPunct="1">
              <a:lnSpc>
                <a:spcPct val="90000"/>
              </a:lnSpc>
              <a:spcBef>
                <a:spcPct val="0"/>
              </a:spcBef>
              <a:buNone/>
              <a:defRPr sz="264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marL="0" marR="0" lvl="0" indent="0" algn="ctr" defTabSz="672067" rtl="0" eaLnBrk="1" fontAlgn="auto" latinLnBrk="0" hangingPunct="1">
              <a:lnSpc>
                <a:spcPct val="90000"/>
              </a:lnSpc>
              <a:spcBef>
                <a:spcPct val="0"/>
              </a:spcBef>
              <a:spcAft>
                <a:spcPts val="0"/>
              </a:spcAft>
              <a:buClrTx/>
              <a:buSzTx/>
              <a:buFontTx/>
              <a:buNone/>
              <a:tabLst/>
              <a:defRPr/>
            </a:pPr>
            <a:r>
              <a:rPr kumimoji="0" lang="fr-FR" sz="3136"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to analyse a scorecard</a:t>
            </a: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endParaRPr kumimoji="0" lang="en-US"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8" name="Picture 7">
            <a:extLst>
              <a:ext uri="{FF2B5EF4-FFF2-40B4-BE49-F238E27FC236}">
                <a16:creationId xmlns:a16="http://schemas.microsoft.com/office/drawing/2014/main" id="{393BBE19-56A8-4EBD-B210-04B0887D6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234" y="1775996"/>
            <a:ext cx="7352982" cy="1737142"/>
          </a:xfrm>
          <a:prstGeom prst="rect">
            <a:avLst/>
          </a:prstGeom>
        </p:spPr>
      </p:pic>
    </p:spTree>
    <p:extLst>
      <p:ext uri="{BB962C8B-B14F-4D97-AF65-F5344CB8AC3E}">
        <p14:creationId xmlns:p14="http://schemas.microsoft.com/office/powerpoint/2010/main" val="38151672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D9A15-37A1-49C3-8115-68AB817CE41D}"/>
              </a:ext>
            </a:extLst>
          </p:cNvPr>
          <p:cNvSpPr>
            <a:spLocks noGrp="1"/>
          </p:cNvSpPr>
          <p:nvPr>
            <p:ph type="title"/>
          </p:nvPr>
        </p:nvSpPr>
        <p:spPr/>
        <p:txBody>
          <a:bodyPr/>
          <a:lstStyle/>
          <a:p>
            <a:endParaRPr lang="en-US"/>
          </a:p>
        </p:txBody>
      </p:sp>
      <p:pic>
        <p:nvPicPr>
          <p:cNvPr id="3" name="Online Media 2" title="Analyse a scorecard to identify underperforming indicators">
            <a:hlinkClick r:id="" action="ppaction://media"/>
            <a:extLst>
              <a:ext uri="{FF2B5EF4-FFF2-40B4-BE49-F238E27FC236}">
                <a16:creationId xmlns:a16="http://schemas.microsoft.com/office/drawing/2014/main" id="{CCC18DE6-42E4-4184-B7C9-C78ED741A312}"/>
              </a:ext>
            </a:extLst>
          </p:cNvPr>
          <p:cNvPicPr>
            <a:picLocks noRot="1" noChangeAspect="1"/>
          </p:cNvPicPr>
          <p:nvPr>
            <a:videoFile r:link="rId1"/>
          </p:nvPr>
        </p:nvPicPr>
        <p:blipFill>
          <a:blip r:embed="rId3"/>
          <a:stretch>
            <a:fillRect/>
          </a:stretch>
        </p:blipFill>
        <p:spPr>
          <a:xfrm>
            <a:off x="185851" y="128864"/>
            <a:ext cx="8302694" cy="6227020"/>
          </a:xfrm>
          <a:prstGeom prst="rect">
            <a:avLst/>
          </a:prstGeom>
        </p:spPr>
      </p:pic>
      <p:sp>
        <p:nvSpPr>
          <p:cNvPr id="5" name="TextBox 4">
            <a:extLst>
              <a:ext uri="{FF2B5EF4-FFF2-40B4-BE49-F238E27FC236}">
                <a16:creationId xmlns:a16="http://schemas.microsoft.com/office/drawing/2014/main" id="{17007ADE-FC55-4EBF-A440-DEB702A1DBA9}"/>
              </a:ext>
            </a:extLst>
          </p:cNvPr>
          <p:cNvSpPr txBox="1"/>
          <p:nvPr/>
        </p:nvSpPr>
        <p:spPr>
          <a:xfrm>
            <a:off x="119063" y="6322010"/>
            <a:ext cx="7956788" cy="338554"/>
          </a:xfrm>
          <a:prstGeom prst="rect">
            <a:avLst/>
          </a:prstGeom>
          <a:noFill/>
        </p:spPr>
        <p:txBody>
          <a:bodyPr wrap="square">
            <a:spAutoFit/>
          </a:bodyPr>
          <a:lstStyle/>
          <a:p>
            <a:r>
              <a:rPr lang="en-US"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Download video: </a:t>
            </a:r>
            <a:r>
              <a:rPr lang="en-US" sz="1600"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Analyze a scorecard to identify underperforming indicators Video</a:t>
            </a:r>
            <a:endParaRPr lang="en-US" dirty="0"/>
          </a:p>
        </p:txBody>
      </p:sp>
    </p:spTree>
    <p:extLst>
      <p:ext uri="{BB962C8B-B14F-4D97-AF65-F5344CB8AC3E}">
        <p14:creationId xmlns:p14="http://schemas.microsoft.com/office/powerpoint/2010/main" val="388143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1"/>
            </p:custDataLst>
          </p:nvPr>
        </p:nvGraphicFramePr>
        <p:xfrm>
          <a:off x="2119" y="1986"/>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23" name="Object 2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9" y="198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extBox 33"/>
          <p:cNvSpPr txBox="1"/>
          <p:nvPr>
            <p:custDataLst>
              <p:tags r:id="rId2"/>
            </p:custDataLst>
          </p:nvPr>
        </p:nvSpPr>
        <p:spPr>
          <a:xfrm>
            <a:off x="48770" y="800385"/>
            <a:ext cx="3675168" cy="2580035"/>
          </a:xfrm>
          <a:prstGeom prst="rect">
            <a:avLst/>
          </a:prstGeom>
          <a:solidFill>
            <a:schemeClr val="accent1"/>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pic>
        <p:nvPicPr>
          <p:cNvPr id="28" name="Picture 27"/>
          <p:cNvPicPr>
            <a:picLocks noChangeAspect="1"/>
          </p:cNvPicPr>
          <p:nvPr/>
        </p:nvPicPr>
        <p:blipFill rotWithShape="1">
          <a:blip r:embed="rId10"/>
          <a:srcRect l="1472" r="359"/>
          <a:stretch/>
        </p:blipFill>
        <p:spPr>
          <a:xfrm>
            <a:off x="385347" y="1636306"/>
            <a:ext cx="3078411" cy="1670700"/>
          </a:xfrm>
          <a:prstGeom prst="rect">
            <a:avLst/>
          </a:prstGeom>
          <a:noFill/>
          <a:effectLst>
            <a:outerShdw blurRad="50800" dist="38100" dir="5400000" algn="t" rotWithShape="0">
              <a:prstClr val="black">
                <a:alpha val="40000"/>
              </a:prstClr>
            </a:outerShdw>
          </a:effectLst>
        </p:spPr>
      </p:pic>
      <p:sp>
        <p:nvSpPr>
          <p:cNvPr id="38" name="TextBox 33"/>
          <p:cNvSpPr txBox="1"/>
          <p:nvPr>
            <p:custDataLst>
              <p:tags r:id="rId3"/>
            </p:custDataLst>
          </p:nvPr>
        </p:nvSpPr>
        <p:spPr>
          <a:xfrm>
            <a:off x="5237501" y="3766546"/>
            <a:ext cx="3562672" cy="2570424"/>
          </a:xfrm>
          <a:prstGeom prst="rect">
            <a:avLst/>
          </a:prstGeom>
          <a:solidFill>
            <a:schemeClr val="accent3"/>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sp>
        <p:nvSpPr>
          <p:cNvPr id="37" name="TextBox 33"/>
          <p:cNvSpPr txBox="1"/>
          <p:nvPr>
            <p:custDataLst>
              <p:tags r:id="rId4"/>
            </p:custDataLst>
          </p:nvPr>
        </p:nvSpPr>
        <p:spPr>
          <a:xfrm>
            <a:off x="1" y="3766546"/>
            <a:ext cx="3804044" cy="2537919"/>
          </a:xfrm>
          <a:prstGeom prst="rect">
            <a:avLst/>
          </a:prstGeom>
          <a:solidFill>
            <a:schemeClr val="accent4"/>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sp>
        <p:nvSpPr>
          <p:cNvPr id="36" name="TextBox 33"/>
          <p:cNvSpPr txBox="1"/>
          <p:nvPr>
            <p:custDataLst>
              <p:tags r:id="rId5"/>
            </p:custDataLst>
          </p:nvPr>
        </p:nvSpPr>
        <p:spPr>
          <a:xfrm>
            <a:off x="5237502" y="800385"/>
            <a:ext cx="3562672" cy="2580035"/>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pic>
        <p:nvPicPr>
          <p:cNvPr id="13" name="Picture 12"/>
          <p:cNvPicPr>
            <a:picLocks noChangeAspect="1"/>
          </p:cNvPicPr>
          <p:nvPr/>
        </p:nvPicPr>
        <p:blipFill>
          <a:blip r:embed="rId11"/>
          <a:stretch>
            <a:fillRect/>
          </a:stretch>
        </p:blipFill>
        <p:spPr>
          <a:xfrm>
            <a:off x="2889188" y="1977172"/>
            <a:ext cx="3183011" cy="3183011"/>
          </a:xfrm>
          <a:prstGeom prst="rect">
            <a:avLst/>
          </a:prstGeom>
        </p:spPr>
      </p:pic>
      <p:pic>
        <p:nvPicPr>
          <p:cNvPr id="24" name="Picture 20" descr="http://akros.com/wp-content/uploads/2015/06/DSCF7493.jpg"/>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22021" y="3872066"/>
            <a:ext cx="2427680" cy="161744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5" name="Picture 23" descr="https://www.volkswagenstiftung.de/uploads/tx_itaofundinginitiative/Subsahara_01.jpg"/>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5348" y="3835349"/>
            <a:ext cx="2427680" cy="161744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a:blip r:embed="rId14"/>
          <a:stretch>
            <a:fillRect/>
          </a:stretch>
        </p:blipFill>
        <p:spPr>
          <a:xfrm>
            <a:off x="6031495" y="2028311"/>
            <a:ext cx="806644" cy="1241113"/>
          </a:xfrm>
          <a:prstGeom prst="rect">
            <a:avLst/>
          </a:prstGeom>
          <a:noFill/>
          <a:effectLst>
            <a:outerShdw blurRad="50800" dist="38100" dir="5400000" algn="t" rotWithShape="0">
              <a:prstClr val="black">
                <a:alpha val="40000"/>
              </a:prstClr>
            </a:outerShdw>
          </a:effectLst>
        </p:spPr>
      </p:pic>
      <p:pic>
        <p:nvPicPr>
          <p:cNvPr id="14" name="Picture 13"/>
          <p:cNvPicPr>
            <a:picLocks/>
          </p:cNvPicPr>
          <p:nvPr/>
        </p:nvPicPr>
        <p:blipFill>
          <a:blip r:embed="rId15"/>
          <a:stretch>
            <a:fillRect/>
          </a:stretch>
        </p:blipFill>
        <p:spPr>
          <a:xfrm>
            <a:off x="6923265" y="2199026"/>
            <a:ext cx="1766337" cy="919983"/>
          </a:xfrm>
          <a:prstGeom prst="rect">
            <a:avLst/>
          </a:prstGeom>
        </p:spPr>
      </p:pic>
      <p:sp>
        <p:nvSpPr>
          <p:cNvPr id="27" name="Rectangle 27"/>
          <p:cNvSpPr txBox="1"/>
          <p:nvPr/>
        </p:nvSpPr>
        <p:spPr>
          <a:xfrm>
            <a:off x="404748" y="1122221"/>
            <a:ext cx="2686527" cy="430246"/>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dirty="0">
                <a:solidFill>
                  <a:prstClr val="black"/>
                </a:solidFill>
                <a:latin typeface="Arial"/>
              </a:rPr>
              <a:t>Data from existing sources are populated in the scorecard</a:t>
            </a:r>
          </a:p>
        </p:txBody>
      </p:sp>
      <p:sp>
        <p:nvSpPr>
          <p:cNvPr id="29" name="Rectangle 27"/>
          <p:cNvSpPr txBox="1"/>
          <p:nvPr/>
        </p:nvSpPr>
        <p:spPr>
          <a:xfrm>
            <a:off x="5480172" y="1122220"/>
            <a:ext cx="3077329" cy="860492"/>
          </a:xfrm>
          <a:prstGeom prst="rect">
            <a:avLst/>
          </a:prstGeom>
          <a:solidFill>
            <a:schemeClr val="accent2">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Existing management processes review the scorecard analysis and document recommended actions in the action tracker. </a:t>
            </a:r>
          </a:p>
        </p:txBody>
      </p:sp>
      <p:sp>
        <p:nvSpPr>
          <p:cNvPr id="30" name="Rectangle 27"/>
          <p:cNvSpPr txBox="1"/>
          <p:nvPr/>
        </p:nvSpPr>
        <p:spPr>
          <a:xfrm>
            <a:off x="5393430" y="5607845"/>
            <a:ext cx="3317912" cy="430246"/>
          </a:xfrm>
          <a:prstGeom prst="rect">
            <a:avLst/>
          </a:prstGeom>
          <a:solidFill>
            <a:schemeClr val="accent3">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Programmes and partners implement action items</a:t>
            </a:r>
          </a:p>
        </p:txBody>
      </p:sp>
      <p:sp>
        <p:nvSpPr>
          <p:cNvPr id="31" name="Rectangle 27"/>
          <p:cNvSpPr txBox="1"/>
          <p:nvPr/>
        </p:nvSpPr>
        <p:spPr>
          <a:xfrm>
            <a:off x="441694" y="5624711"/>
            <a:ext cx="3307585" cy="645681"/>
          </a:xfrm>
          <a:prstGeom prst="rect">
            <a:avLst/>
          </a:prstGeom>
          <a:solidFill>
            <a:schemeClr val="accent4">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Management and other existing accountability mechanisms monitor implementation  of actions</a:t>
            </a:r>
          </a:p>
        </p:txBody>
      </p:sp>
      <p:sp>
        <p:nvSpPr>
          <p:cNvPr id="3" name="Arrow: Right 2">
            <a:extLst>
              <a:ext uri="{FF2B5EF4-FFF2-40B4-BE49-F238E27FC236}">
                <a16:creationId xmlns:a16="http://schemas.microsoft.com/office/drawing/2014/main" id="{828B6C44-B773-45BC-94B8-C67C50F8476A}"/>
              </a:ext>
            </a:extLst>
          </p:cNvPr>
          <p:cNvSpPr/>
          <p:nvPr/>
        </p:nvSpPr>
        <p:spPr>
          <a:xfrm>
            <a:off x="3666513" y="1014592"/>
            <a:ext cx="1721826" cy="979365"/>
          </a:xfrm>
          <a:prstGeom prst="right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9" name="Rectangle 27">
            <a:extLst>
              <a:ext uri="{FF2B5EF4-FFF2-40B4-BE49-F238E27FC236}">
                <a16:creationId xmlns:a16="http://schemas.microsoft.com/office/drawing/2014/main" id="{BA4F8FBB-DDFB-4B67-8B37-9C655DDB0040}"/>
              </a:ext>
            </a:extLst>
          </p:cNvPr>
          <p:cNvSpPr txBox="1"/>
          <p:nvPr/>
        </p:nvSpPr>
        <p:spPr>
          <a:xfrm>
            <a:off x="4022954" y="1404358"/>
            <a:ext cx="791964" cy="215123"/>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dirty="0">
                <a:solidFill>
                  <a:prstClr val="black"/>
                </a:solidFill>
                <a:latin typeface="Arial"/>
              </a:rPr>
              <a:t>Analysis</a:t>
            </a:r>
          </a:p>
        </p:txBody>
      </p:sp>
      <p:sp>
        <p:nvSpPr>
          <p:cNvPr id="20" name="Title 1">
            <a:extLst>
              <a:ext uri="{FF2B5EF4-FFF2-40B4-BE49-F238E27FC236}">
                <a16:creationId xmlns:a16="http://schemas.microsoft.com/office/drawing/2014/main" id="{5A9BE369-0011-4C02-9303-250094FC45DF}"/>
              </a:ext>
            </a:extLst>
          </p:cNvPr>
          <p:cNvSpPr txBox="1">
            <a:spLocks/>
          </p:cNvSpPr>
          <p:nvPr/>
        </p:nvSpPr>
        <p:spPr bwMode="auto">
          <a:xfrm>
            <a:off x="-396876" y="330068"/>
            <a:ext cx="7732738"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marL="628517"/>
            <a:r>
              <a:rPr lang="en-US" sz="1900" dirty="0"/>
              <a:t>How does the scorecard process work?</a:t>
            </a:r>
          </a:p>
        </p:txBody>
      </p:sp>
      <p:sp>
        <p:nvSpPr>
          <p:cNvPr id="22" name="TextBox 21">
            <a:extLst>
              <a:ext uri="{FF2B5EF4-FFF2-40B4-BE49-F238E27FC236}">
                <a16:creationId xmlns:a16="http://schemas.microsoft.com/office/drawing/2014/main" id="{C8DDEA66-49C6-4235-A6FC-04ECF547BAD7}"/>
              </a:ext>
            </a:extLst>
          </p:cNvPr>
          <p:cNvSpPr txBox="1"/>
          <p:nvPr/>
        </p:nvSpPr>
        <p:spPr>
          <a:xfrm>
            <a:off x="48770" y="1014592"/>
            <a:ext cx="481602" cy="333617"/>
          </a:xfrm>
          <a:prstGeom prst="rect">
            <a:avLst/>
          </a:prstGeom>
          <a:noFill/>
        </p:spPr>
        <p:txBody>
          <a:bodyPr wrap="square" rtlCol="0">
            <a:spAutoFit/>
          </a:bodyPr>
          <a:lstStyle/>
          <a:p>
            <a:r>
              <a:rPr lang="en-US" sz="1568" dirty="0"/>
              <a:t>1.</a:t>
            </a:r>
          </a:p>
        </p:txBody>
      </p:sp>
      <p:sp>
        <p:nvSpPr>
          <p:cNvPr id="33" name="TextBox 32">
            <a:extLst>
              <a:ext uri="{FF2B5EF4-FFF2-40B4-BE49-F238E27FC236}">
                <a16:creationId xmlns:a16="http://schemas.microsoft.com/office/drawing/2014/main" id="{69771581-B8EB-4EBE-9437-B5CB09C81BD3}"/>
              </a:ext>
            </a:extLst>
          </p:cNvPr>
          <p:cNvSpPr txBox="1"/>
          <p:nvPr/>
        </p:nvSpPr>
        <p:spPr>
          <a:xfrm>
            <a:off x="3682532" y="1330464"/>
            <a:ext cx="481602" cy="333617"/>
          </a:xfrm>
          <a:prstGeom prst="rect">
            <a:avLst/>
          </a:prstGeom>
          <a:noFill/>
        </p:spPr>
        <p:txBody>
          <a:bodyPr wrap="square" rtlCol="0">
            <a:spAutoFit/>
          </a:bodyPr>
          <a:lstStyle/>
          <a:p>
            <a:r>
              <a:rPr lang="en-US" sz="1568" dirty="0"/>
              <a:t>2.</a:t>
            </a:r>
          </a:p>
        </p:txBody>
      </p:sp>
      <p:sp>
        <p:nvSpPr>
          <p:cNvPr id="34" name="TextBox 33">
            <a:extLst>
              <a:ext uri="{FF2B5EF4-FFF2-40B4-BE49-F238E27FC236}">
                <a16:creationId xmlns:a16="http://schemas.microsoft.com/office/drawing/2014/main" id="{BE167DC1-A334-45CD-A188-46EF9F4DEF8A}"/>
              </a:ext>
            </a:extLst>
          </p:cNvPr>
          <p:cNvSpPr txBox="1"/>
          <p:nvPr/>
        </p:nvSpPr>
        <p:spPr>
          <a:xfrm>
            <a:off x="5157394" y="5544077"/>
            <a:ext cx="481602" cy="333617"/>
          </a:xfrm>
          <a:prstGeom prst="rect">
            <a:avLst/>
          </a:prstGeom>
          <a:noFill/>
        </p:spPr>
        <p:txBody>
          <a:bodyPr wrap="square" rtlCol="0">
            <a:spAutoFit/>
          </a:bodyPr>
          <a:lstStyle/>
          <a:p>
            <a:r>
              <a:rPr lang="en-US" sz="1568" dirty="0">
                <a:solidFill>
                  <a:schemeClr val="bg1"/>
                </a:solidFill>
              </a:rPr>
              <a:t>4.</a:t>
            </a:r>
          </a:p>
        </p:txBody>
      </p:sp>
      <p:sp>
        <p:nvSpPr>
          <p:cNvPr id="35" name="TextBox 34">
            <a:extLst>
              <a:ext uri="{FF2B5EF4-FFF2-40B4-BE49-F238E27FC236}">
                <a16:creationId xmlns:a16="http://schemas.microsoft.com/office/drawing/2014/main" id="{2BD80F66-93F3-4A60-9F8A-B6FA78B64A28}"/>
              </a:ext>
            </a:extLst>
          </p:cNvPr>
          <p:cNvSpPr txBox="1"/>
          <p:nvPr/>
        </p:nvSpPr>
        <p:spPr>
          <a:xfrm>
            <a:off x="40519" y="5556553"/>
            <a:ext cx="481602" cy="333617"/>
          </a:xfrm>
          <a:prstGeom prst="rect">
            <a:avLst/>
          </a:prstGeom>
          <a:noFill/>
        </p:spPr>
        <p:txBody>
          <a:bodyPr wrap="square" rtlCol="0">
            <a:spAutoFit/>
          </a:bodyPr>
          <a:lstStyle/>
          <a:p>
            <a:r>
              <a:rPr lang="en-US" sz="1568" dirty="0">
                <a:solidFill>
                  <a:schemeClr val="bg1"/>
                </a:solidFill>
              </a:rPr>
              <a:t>5. </a:t>
            </a:r>
            <a:r>
              <a:rPr lang="en-US" sz="1568" dirty="0"/>
              <a:t>.</a:t>
            </a:r>
          </a:p>
        </p:txBody>
      </p:sp>
      <p:sp>
        <p:nvSpPr>
          <p:cNvPr id="2" name="TextBox 1">
            <a:extLst>
              <a:ext uri="{FF2B5EF4-FFF2-40B4-BE49-F238E27FC236}">
                <a16:creationId xmlns:a16="http://schemas.microsoft.com/office/drawing/2014/main" id="{0B756180-48B5-4306-B68E-AA00B5C76409}"/>
              </a:ext>
            </a:extLst>
          </p:cNvPr>
          <p:cNvSpPr txBox="1"/>
          <p:nvPr/>
        </p:nvSpPr>
        <p:spPr>
          <a:xfrm>
            <a:off x="5202621" y="1012359"/>
            <a:ext cx="481602" cy="333617"/>
          </a:xfrm>
          <a:prstGeom prst="rect">
            <a:avLst/>
          </a:prstGeom>
          <a:noFill/>
        </p:spPr>
        <p:txBody>
          <a:bodyPr wrap="square" rtlCol="0">
            <a:spAutoFit/>
          </a:bodyPr>
          <a:lstStyle/>
          <a:p>
            <a:r>
              <a:rPr lang="en-US" sz="1568" dirty="0"/>
              <a:t>3.</a:t>
            </a:r>
          </a:p>
        </p:txBody>
      </p:sp>
    </p:spTree>
    <p:extLst>
      <p:ext uri="{BB962C8B-B14F-4D97-AF65-F5344CB8AC3E}">
        <p14:creationId xmlns:p14="http://schemas.microsoft.com/office/powerpoint/2010/main" val="34769879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1"/>
            </p:custDataLst>
          </p:nvPr>
        </p:nvGraphicFramePr>
        <p:xfrm>
          <a:off x="530" y="398"/>
          <a:ext cx="158730" cy="158730"/>
        </p:xfrm>
        <a:graphic>
          <a:graphicData uri="http://schemas.openxmlformats.org/presentationml/2006/ole">
            <mc:AlternateContent xmlns:mc="http://schemas.openxmlformats.org/markup-compatibility/2006">
              <mc:Choice xmlns:v="urn:schemas-microsoft-com:vml" Requires="v">
                <p:oleObj name="think-cell Slide" r:id="rId22" imgW="360" imgH="360" progId="">
                  <p:embed/>
                </p:oleObj>
              </mc:Choice>
              <mc:Fallback>
                <p:oleObj name="think-cell Slide" r:id="rId22" imgW="360" imgH="360" progId="">
                  <p:embed/>
                  <p:pic>
                    <p:nvPicPr>
                      <p:cNvPr id="35" name="Object 34"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30" y="398"/>
                        <a:ext cx="158730"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Box 32"/>
          <p:cNvSpPr txBox="1"/>
          <p:nvPr>
            <p:custDataLst>
              <p:tags r:id="rId2"/>
            </p:custDataLst>
          </p:nvPr>
        </p:nvSpPr>
        <p:spPr>
          <a:xfrm>
            <a:off x="550353" y="1038030"/>
            <a:ext cx="7987527" cy="4554986"/>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endParaRPr lang="en-US" sz="1598" dirty="0">
              <a:solidFill>
                <a:srgbClr val="000000"/>
              </a:solidFill>
              <a:latin typeface="Arial"/>
            </a:endParaRPr>
          </a:p>
        </p:txBody>
      </p:sp>
      <p:sp>
        <p:nvSpPr>
          <p:cNvPr id="2" name="Title 1"/>
          <p:cNvSpPr>
            <a:spLocks noGrp="1"/>
          </p:cNvSpPr>
          <p:nvPr>
            <p:ph type="title"/>
            <p:custDataLst>
              <p:tags r:id="rId3"/>
            </p:custDataLst>
          </p:nvPr>
        </p:nvSpPr>
        <p:spPr>
          <a:xfrm>
            <a:off x="513463" y="405534"/>
            <a:ext cx="6653674" cy="584914"/>
          </a:xfrm>
        </p:spPr>
        <p:txBody>
          <a:bodyPr/>
          <a:lstStyle/>
          <a:p>
            <a:br>
              <a:rPr lang="en-US" dirty="0">
                <a:solidFill>
                  <a:schemeClr val="accent4"/>
                </a:solidFill>
              </a:rPr>
            </a:br>
            <a:r>
              <a:rPr lang="en-US" dirty="0">
                <a:solidFill>
                  <a:schemeClr val="accent4"/>
                </a:solidFill>
              </a:rPr>
              <a:t>2. </a:t>
            </a:r>
            <a:r>
              <a:rPr lang="en-US" dirty="0">
                <a:solidFill>
                  <a:schemeClr val="tx1"/>
                </a:solidFill>
              </a:rPr>
              <a:t>Analyzing the scorecard to create actions…</a:t>
            </a:r>
          </a:p>
        </p:txBody>
      </p:sp>
      <p:grpSp>
        <p:nvGrpSpPr>
          <p:cNvPr id="30" name="Group 29"/>
          <p:cNvGrpSpPr/>
          <p:nvPr>
            <p:custDataLst>
              <p:tags r:id="rId4"/>
            </p:custDataLst>
          </p:nvPr>
        </p:nvGrpSpPr>
        <p:grpSpPr>
          <a:xfrm>
            <a:off x="763506" y="1425910"/>
            <a:ext cx="7607608" cy="3239237"/>
            <a:chOff x="822442" y="885354"/>
            <a:chExt cx="7608506" cy="3239618"/>
          </a:xfrm>
        </p:grpSpPr>
        <p:grpSp>
          <p:nvGrpSpPr>
            <p:cNvPr id="8" name="Group 7"/>
            <p:cNvGrpSpPr/>
            <p:nvPr>
              <p:custDataLst>
                <p:tags r:id="rId5"/>
              </p:custDataLst>
            </p:nvPr>
          </p:nvGrpSpPr>
          <p:grpSpPr>
            <a:xfrm>
              <a:off x="3311396" y="885354"/>
              <a:ext cx="2630599" cy="914401"/>
              <a:chOff x="2534097" y="885354"/>
              <a:chExt cx="1976408" cy="914401"/>
            </a:xfrm>
          </p:grpSpPr>
          <p:sp>
            <p:nvSpPr>
              <p:cNvPr id="9" name="Freeform 8"/>
              <p:cNvSpPr/>
              <p:nvPr>
                <p:custDataLst>
                  <p:tags r:id="rId18"/>
                </p:custDataLst>
              </p:nvPr>
            </p:nvSpPr>
            <p:spPr bwMode="auto">
              <a:xfrm>
                <a:off x="253409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solidFill>
                  <a:schemeClr val="accent6"/>
                </a:solidFill>
                <a:round/>
                <a:headEnd/>
                <a:tailEnd/>
              </a:ln>
            </p:spPr>
            <p:txBody>
              <a:bodyPr wrap="none" rtlCol="0" anchor="ctr"/>
              <a:lstStyle/>
              <a:p>
                <a:pPr algn="ctr" defTabSz="914303">
                  <a:buClr>
                    <a:srgbClr val="002960"/>
                  </a:buClr>
                </a:pPr>
                <a:endParaRPr lang="en-US" sz="1800" dirty="0">
                  <a:solidFill>
                    <a:srgbClr val="000000"/>
                  </a:solidFill>
                </a:endParaRPr>
              </a:p>
            </p:txBody>
          </p:sp>
          <p:sp>
            <p:nvSpPr>
              <p:cNvPr id="10" name="TextBox 4"/>
              <p:cNvSpPr txBox="1">
                <a:spLocks noChangeArrowheads="1"/>
              </p:cNvSpPr>
              <p:nvPr>
                <p:custDataLst>
                  <p:tags r:id="rId19"/>
                </p:custDataLst>
              </p:nvPr>
            </p:nvSpPr>
            <p:spPr bwMode="auto">
              <a:xfrm>
                <a:off x="3052945" y="1219039"/>
                <a:ext cx="1292967" cy="24593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002960"/>
                  </a:buClr>
                </a:pPr>
                <a:r>
                  <a:rPr lang="en-US" sz="1598" dirty="0">
                    <a:solidFill>
                      <a:srgbClr val="000000"/>
                    </a:solidFill>
                    <a:latin typeface="Arial"/>
                  </a:rPr>
                  <a:t>Investigate</a:t>
                </a:r>
              </a:p>
            </p:txBody>
          </p:sp>
        </p:grpSp>
        <p:grpSp>
          <p:nvGrpSpPr>
            <p:cNvPr id="11" name="Group 10"/>
            <p:cNvGrpSpPr/>
            <p:nvPr>
              <p:custDataLst>
                <p:tags r:id="rId6"/>
              </p:custDataLst>
            </p:nvPr>
          </p:nvGrpSpPr>
          <p:grpSpPr>
            <a:xfrm>
              <a:off x="822442" y="885354"/>
              <a:ext cx="2775641" cy="914401"/>
              <a:chOff x="722037" y="885354"/>
              <a:chExt cx="2085380" cy="914401"/>
            </a:xfrm>
          </p:grpSpPr>
          <p:sp>
            <p:nvSpPr>
              <p:cNvPr id="12" name="Freeform 11"/>
              <p:cNvSpPr/>
              <p:nvPr>
                <p:custDataLst>
                  <p:tags r:id="rId16"/>
                </p:custDataLst>
              </p:nvPr>
            </p:nvSpPr>
            <p:spPr bwMode="auto">
              <a:xfrm>
                <a:off x="72203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1"/>
              </a:solidFill>
              <a:ln w="9525">
                <a:solidFill>
                  <a:schemeClr val="accent6"/>
                </a:solidFill>
                <a:round/>
                <a:headEnd/>
                <a:tailEnd/>
              </a:ln>
            </p:spPr>
            <p:txBody>
              <a:bodyPr wrap="none" rtlCol="0" anchor="ctr"/>
              <a:lstStyle/>
              <a:p>
                <a:pPr algn="ctr" defTabSz="914303">
                  <a:buClr>
                    <a:srgbClr val="002960"/>
                  </a:buClr>
                </a:pPr>
                <a:endParaRPr lang="en-US" sz="1800" dirty="0">
                  <a:solidFill>
                    <a:srgbClr val="000000"/>
                  </a:solidFill>
                </a:endParaRPr>
              </a:p>
            </p:txBody>
          </p:sp>
          <p:sp>
            <p:nvSpPr>
              <p:cNvPr id="13" name="TextBox 4"/>
              <p:cNvSpPr txBox="1">
                <a:spLocks noChangeArrowheads="1"/>
              </p:cNvSpPr>
              <p:nvPr>
                <p:custDataLst>
                  <p:tags r:id="rId17"/>
                </p:custDataLst>
              </p:nvPr>
            </p:nvSpPr>
            <p:spPr bwMode="auto">
              <a:xfrm>
                <a:off x="1046401" y="1219590"/>
                <a:ext cx="1761016" cy="24593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002960"/>
                  </a:buClr>
                </a:pPr>
                <a:r>
                  <a:rPr lang="en-US" sz="1598" dirty="0" err="1">
                    <a:solidFill>
                      <a:srgbClr val="000000"/>
                    </a:solidFill>
                    <a:latin typeface="Arial"/>
                  </a:rPr>
                  <a:t>Prioriti</a:t>
                </a:r>
                <a:r>
                  <a:rPr lang="en-US" sz="1598" dirty="0" err="1">
                    <a:solidFill>
                      <a:prstClr val="black"/>
                    </a:solidFill>
                    <a:latin typeface="Arial"/>
                  </a:rPr>
                  <a:t>s</a:t>
                </a:r>
                <a:r>
                  <a:rPr lang="en-US" sz="1598" dirty="0" err="1">
                    <a:solidFill>
                      <a:srgbClr val="000000"/>
                    </a:solidFill>
                    <a:latin typeface="Arial"/>
                  </a:rPr>
                  <a:t>e</a:t>
                </a:r>
                <a:endParaRPr lang="en-US" sz="1598" dirty="0">
                  <a:solidFill>
                    <a:srgbClr val="000000"/>
                  </a:solidFill>
                  <a:latin typeface="Arial"/>
                </a:endParaRPr>
              </a:p>
            </p:txBody>
          </p:sp>
        </p:grpSp>
        <p:grpSp>
          <p:nvGrpSpPr>
            <p:cNvPr id="14" name="Group 13"/>
            <p:cNvGrpSpPr/>
            <p:nvPr>
              <p:custDataLst>
                <p:tags r:id="rId7"/>
              </p:custDataLst>
            </p:nvPr>
          </p:nvGrpSpPr>
          <p:grpSpPr>
            <a:xfrm>
              <a:off x="5800349" y="885354"/>
              <a:ext cx="2630599" cy="914401"/>
              <a:chOff x="4346157" y="885354"/>
              <a:chExt cx="1976408" cy="914401"/>
            </a:xfrm>
          </p:grpSpPr>
          <p:sp>
            <p:nvSpPr>
              <p:cNvPr id="15" name="Freeform 14"/>
              <p:cNvSpPr/>
              <p:nvPr>
                <p:custDataLst>
                  <p:tags r:id="rId14"/>
                </p:custDataLst>
              </p:nvPr>
            </p:nvSpPr>
            <p:spPr bwMode="auto">
              <a:xfrm>
                <a:off x="434615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solidFill>
                  <a:schemeClr val="accent6"/>
                </a:solidFill>
                <a:round/>
                <a:headEnd/>
                <a:tailEnd/>
              </a:ln>
            </p:spPr>
            <p:txBody>
              <a:bodyPr wrap="none" rtlCol="0" anchor="ctr"/>
              <a:lstStyle/>
              <a:p>
                <a:pPr algn="ctr" defTabSz="914303">
                  <a:buClr>
                    <a:srgbClr val="002960"/>
                  </a:buClr>
                </a:pPr>
                <a:endParaRPr lang="en-US" sz="1800" dirty="0">
                  <a:solidFill>
                    <a:srgbClr val="000000"/>
                  </a:solidFill>
                </a:endParaRPr>
              </a:p>
            </p:txBody>
          </p:sp>
          <p:sp>
            <p:nvSpPr>
              <p:cNvPr id="16" name="TextBox 4"/>
              <p:cNvSpPr txBox="1">
                <a:spLocks noChangeArrowheads="1"/>
              </p:cNvSpPr>
              <p:nvPr>
                <p:custDataLst>
                  <p:tags r:id="rId15"/>
                </p:custDataLst>
              </p:nvPr>
            </p:nvSpPr>
            <p:spPr bwMode="auto">
              <a:xfrm>
                <a:off x="4841895" y="1219037"/>
                <a:ext cx="1289311" cy="24593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002960"/>
                  </a:buClr>
                </a:pPr>
                <a:r>
                  <a:rPr lang="en-US" sz="1598" dirty="0">
                    <a:solidFill>
                      <a:srgbClr val="000000"/>
                    </a:solidFill>
                    <a:latin typeface="Arial"/>
                  </a:rPr>
                  <a:t>Act</a:t>
                </a:r>
              </a:p>
            </p:txBody>
          </p:sp>
        </p:grpSp>
        <p:sp>
          <p:nvSpPr>
            <p:cNvPr id="20" name="Rectangle 286"/>
            <p:cNvSpPr txBox="1">
              <a:spLocks noChangeArrowheads="1"/>
            </p:cNvSpPr>
            <p:nvPr>
              <p:custDataLst>
                <p:tags r:id="rId8"/>
              </p:custDataLst>
            </p:nvPr>
          </p:nvSpPr>
          <p:spPr bwMode="auto">
            <a:xfrm>
              <a:off x="890057" y="1911606"/>
              <a:ext cx="2343912" cy="221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690" indent="-285690" defTabSz="895255">
                <a:buClr>
                  <a:srgbClr val="002960"/>
                </a:buClr>
                <a:buFont typeface="Wingdings" pitchFamily="2" charset="2"/>
                <a:buChar char="§"/>
              </a:pPr>
              <a:r>
                <a:rPr lang="en-US" sz="1598" dirty="0">
                  <a:solidFill>
                    <a:srgbClr val="000000"/>
                  </a:solidFill>
                  <a:latin typeface="Arial"/>
                </a:rPr>
                <a:t>Identify indicators requiring attention</a:t>
              </a:r>
            </a:p>
            <a:p>
              <a:pPr marL="285690" indent="-285690" defTabSz="895255">
                <a:buClr>
                  <a:srgbClr val="002960"/>
                </a:buClr>
                <a:buFont typeface="Wingdings" pitchFamily="2" charset="2"/>
                <a:buChar char="§"/>
              </a:pPr>
              <a:r>
                <a:rPr lang="en-US" sz="1598" dirty="0">
                  <a:solidFill>
                    <a:prstClr val="black"/>
                  </a:solidFill>
                  <a:latin typeface="Arial"/>
                </a:rPr>
                <a:t>Identify States and LGAs requiring attention</a:t>
              </a:r>
            </a:p>
            <a:p>
              <a:pPr marL="285690" indent="-285690" defTabSz="895255">
                <a:buClr>
                  <a:srgbClr val="002960"/>
                </a:buClr>
                <a:buFont typeface="Wingdings" pitchFamily="2" charset="2"/>
                <a:buChar char="§"/>
              </a:pPr>
              <a:r>
                <a:rPr lang="en-US" sz="1598" dirty="0">
                  <a:solidFill>
                    <a:srgbClr val="000000"/>
                  </a:solidFill>
                  <a:latin typeface="Arial"/>
                </a:rPr>
                <a:t>Evaluate whether performance is improving or getting worse </a:t>
              </a:r>
            </a:p>
          </p:txBody>
        </p:sp>
        <p:sp>
          <p:nvSpPr>
            <p:cNvPr id="21" name="Rectangle 286"/>
            <p:cNvSpPr txBox="1">
              <a:spLocks noChangeArrowheads="1"/>
            </p:cNvSpPr>
            <p:nvPr>
              <p:custDataLst>
                <p:tags r:id="rId9"/>
              </p:custDataLst>
            </p:nvPr>
          </p:nvSpPr>
          <p:spPr bwMode="auto">
            <a:xfrm>
              <a:off x="3453040" y="1911606"/>
              <a:ext cx="2269881" cy="1721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690" indent="-285690" defTabSz="895255">
                <a:buClr>
                  <a:srgbClr val="002960"/>
                </a:buClr>
                <a:buFont typeface="Wingdings" pitchFamily="2" charset="2"/>
                <a:buChar char="§"/>
              </a:pPr>
              <a:r>
                <a:rPr lang="en-US" sz="1598" dirty="0">
                  <a:solidFill>
                    <a:srgbClr val="000000"/>
                  </a:solidFill>
                  <a:latin typeface="Arial"/>
                </a:rPr>
                <a:t>Gather information about root causes of the problem</a:t>
              </a:r>
            </a:p>
            <a:p>
              <a:pPr marL="285690" indent="-285690" defTabSz="895255">
                <a:buClr>
                  <a:srgbClr val="002960"/>
                </a:buClr>
                <a:buFont typeface="Wingdings" pitchFamily="2" charset="2"/>
                <a:buChar char="§"/>
              </a:pPr>
              <a:r>
                <a:rPr lang="en-US" sz="1598" dirty="0">
                  <a:solidFill>
                    <a:srgbClr val="000000"/>
                  </a:solidFill>
                  <a:latin typeface="Arial"/>
                </a:rPr>
                <a:t>Determine which factors contribute most to under-performance</a:t>
              </a:r>
            </a:p>
          </p:txBody>
        </p:sp>
        <p:sp>
          <p:nvSpPr>
            <p:cNvPr id="22" name="Rectangle 286"/>
            <p:cNvSpPr txBox="1">
              <a:spLocks noChangeArrowheads="1"/>
            </p:cNvSpPr>
            <p:nvPr>
              <p:custDataLst>
                <p:tags r:id="rId10"/>
              </p:custDataLst>
            </p:nvPr>
          </p:nvSpPr>
          <p:spPr bwMode="auto">
            <a:xfrm>
              <a:off x="5941995" y="1911606"/>
              <a:ext cx="2234254" cy="1475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690" indent="-285690" defTabSz="895255">
                <a:buClr>
                  <a:srgbClr val="002960"/>
                </a:buClr>
                <a:buFont typeface="Wingdings" pitchFamily="2" charset="2"/>
                <a:buChar char="§"/>
              </a:pPr>
              <a:r>
                <a:rPr lang="en-US" sz="1598" dirty="0">
                  <a:solidFill>
                    <a:srgbClr val="000000"/>
                  </a:solidFill>
                  <a:latin typeface="Arial"/>
                </a:rPr>
                <a:t>Develop actions that address the root causes identified</a:t>
              </a:r>
            </a:p>
            <a:p>
              <a:pPr marL="285690" indent="-285690" defTabSz="895255">
                <a:buClr>
                  <a:srgbClr val="002960"/>
                </a:buClr>
                <a:buFont typeface="Wingdings" pitchFamily="2" charset="2"/>
                <a:buChar char="§"/>
              </a:pPr>
              <a:r>
                <a:rPr lang="en-US" sz="1598" dirty="0">
                  <a:solidFill>
                    <a:srgbClr val="000000"/>
                  </a:solidFill>
                  <a:latin typeface="Arial"/>
                </a:rPr>
                <a:t>Input action items </a:t>
              </a:r>
              <a:r>
                <a:rPr lang="en-US" sz="1598" dirty="0">
                  <a:solidFill>
                    <a:prstClr val="black"/>
                  </a:solidFill>
                  <a:latin typeface="Arial"/>
                </a:rPr>
                <a:t>into web platform </a:t>
              </a:r>
              <a:r>
                <a:rPr lang="en-US" sz="1598" dirty="0">
                  <a:solidFill>
                    <a:srgbClr val="000000"/>
                  </a:solidFill>
                  <a:latin typeface="Arial"/>
                </a:rPr>
                <a:t>and monitor</a:t>
              </a:r>
            </a:p>
          </p:txBody>
        </p:sp>
        <p:sp>
          <p:nvSpPr>
            <p:cNvPr id="24" name="TextBox 25"/>
            <p:cNvSpPr txBox="1"/>
            <p:nvPr>
              <p:custDataLst>
                <p:tags r:id="rId11"/>
              </p:custDataLst>
            </p:nvPr>
          </p:nvSpPr>
          <p:spPr>
            <a:xfrm>
              <a:off x="890057"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8" tIns="0" rIns="380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defTabSz="895255">
                <a:buClr>
                  <a:srgbClr val="002960"/>
                </a:buClr>
              </a:pPr>
              <a:r>
                <a:rPr lang="en-US" sz="1598" dirty="0">
                  <a:solidFill>
                    <a:srgbClr val="FFFFFF"/>
                  </a:solidFill>
                  <a:latin typeface="Arial"/>
                </a:rPr>
                <a:t>1</a:t>
              </a:r>
            </a:p>
          </p:txBody>
        </p:sp>
        <p:sp>
          <p:nvSpPr>
            <p:cNvPr id="28" name="TextBox 25"/>
            <p:cNvSpPr txBox="1"/>
            <p:nvPr>
              <p:custDataLst>
                <p:tags r:id="rId12"/>
              </p:custDataLst>
            </p:nvPr>
          </p:nvSpPr>
          <p:spPr>
            <a:xfrm>
              <a:off x="3598083"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8" tIns="0" rIns="380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defTabSz="895255">
                <a:buClr>
                  <a:srgbClr val="002960"/>
                </a:buClr>
              </a:pPr>
              <a:r>
                <a:rPr lang="en-US" sz="1598" dirty="0">
                  <a:solidFill>
                    <a:srgbClr val="FFFFFF"/>
                  </a:solidFill>
                  <a:latin typeface="Arial"/>
                </a:rPr>
                <a:t>2</a:t>
              </a:r>
            </a:p>
          </p:txBody>
        </p:sp>
        <p:sp>
          <p:nvSpPr>
            <p:cNvPr id="29" name="TextBox 25"/>
            <p:cNvSpPr txBox="1"/>
            <p:nvPr>
              <p:custDataLst>
                <p:tags r:id="rId13"/>
              </p:custDataLst>
            </p:nvPr>
          </p:nvSpPr>
          <p:spPr>
            <a:xfrm>
              <a:off x="6087036"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8" tIns="0" rIns="380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defTabSz="895255">
                <a:buClr>
                  <a:srgbClr val="002960"/>
                </a:buClr>
              </a:pPr>
              <a:r>
                <a:rPr lang="en-US" sz="1598" dirty="0">
                  <a:solidFill>
                    <a:srgbClr val="FFFFFF"/>
                  </a:solidFill>
                  <a:latin typeface="Arial"/>
                </a:rPr>
                <a:t>3</a:t>
              </a:r>
            </a:p>
          </p:txBody>
        </p:sp>
      </p:grpSp>
    </p:spTree>
    <p:extLst>
      <p:ext uri="{BB962C8B-B14F-4D97-AF65-F5344CB8AC3E}">
        <p14:creationId xmlns:p14="http://schemas.microsoft.com/office/powerpoint/2010/main" val="32738973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4D9739B-B321-4F4A-97EC-FAC8FEC9680C}"/>
              </a:ext>
            </a:extLst>
          </p:cNvPr>
          <p:cNvPicPr>
            <a:picLocks noChangeAspect="1"/>
          </p:cNvPicPr>
          <p:nvPr/>
        </p:nvPicPr>
        <p:blipFill>
          <a:blip r:embed="rId3"/>
          <a:stretch>
            <a:fillRect/>
          </a:stretch>
        </p:blipFill>
        <p:spPr>
          <a:xfrm>
            <a:off x="0" y="3117703"/>
            <a:ext cx="8961438" cy="3164019"/>
          </a:xfrm>
          <a:prstGeom prst="rect">
            <a:avLst/>
          </a:prstGeom>
        </p:spPr>
      </p:pic>
      <p:sp>
        <p:nvSpPr>
          <p:cNvPr id="2" name="Title 1">
            <a:extLst>
              <a:ext uri="{FF2B5EF4-FFF2-40B4-BE49-F238E27FC236}">
                <a16:creationId xmlns:a16="http://schemas.microsoft.com/office/drawing/2014/main" id="{BE004BB8-1C7E-4064-9137-B5CABCA1E779}"/>
              </a:ext>
            </a:extLst>
          </p:cNvPr>
          <p:cNvSpPr>
            <a:spLocks noGrp="1"/>
          </p:cNvSpPr>
          <p:nvPr>
            <p:ph type="title"/>
          </p:nvPr>
        </p:nvSpPr>
        <p:spPr>
          <a:xfrm>
            <a:off x="2919285" y="947383"/>
            <a:ext cx="8159320" cy="292457"/>
          </a:xfrm>
        </p:spPr>
        <p:txBody>
          <a:bodyPr/>
          <a:lstStyle/>
          <a:p>
            <a:r>
              <a:rPr lang="en-US" dirty="0"/>
              <a:t>Three dimensions to each cell</a:t>
            </a:r>
          </a:p>
        </p:txBody>
      </p:sp>
      <p:pic>
        <p:nvPicPr>
          <p:cNvPr id="3" name="Picture 2">
            <a:extLst>
              <a:ext uri="{FF2B5EF4-FFF2-40B4-BE49-F238E27FC236}">
                <a16:creationId xmlns:a16="http://schemas.microsoft.com/office/drawing/2014/main" id="{149DE884-A516-4628-A55D-D5D4F17DF31F}"/>
              </a:ext>
            </a:extLst>
          </p:cNvPr>
          <p:cNvPicPr>
            <a:picLocks noChangeAspect="1"/>
          </p:cNvPicPr>
          <p:nvPr/>
        </p:nvPicPr>
        <p:blipFill rotWithShape="1">
          <a:blip r:embed="rId4"/>
          <a:srcRect l="2757" t="7982" r="2342" b="11961"/>
          <a:stretch/>
        </p:blipFill>
        <p:spPr>
          <a:xfrm>
            <a:off x="2719759" y="2567376"/>
            <a:ext cx="2955904" cy="642872"/>
          </a:xfrm>
          <a:prstGeom prst="rect">
            <a:avLst/>
          </a:prstGeom>
        </p:spPr>
      </p:pic>
      <p:cxnSp>
        <p:nvCxnSpPr>
          <p:cNvPr id="5" name="Straight Connector 4">
            <a:extLst>
              <a:ext uri="{FF2B5EF4-FFF2-40B4-BE49-F238E27FC236}">
                <a16:creationId xmlns:a16="http://schemas.microsoft.com/office/drawing/2014/main" id="{01F676EF-C7D3-49EA-8BFC-F2E9540EE80C}"/>
              </a:ext>
            </a:extLst>
          </p:cNvPr>
          <p:cNvCxnSpPr>
            <a:cxnSpLocks/>
          </p:cNvCxnSpPr>
          <p:nvPr/>
        </p:nvCxnSpPr>
        <p:spPr>
          <a:xfrm flipH="1" flipV="1">
            <a:off x="1688152" y="2087122"/>
            <a:ext cx="1469260" cy="859674"/>
          </a:xfrm>
          <a:prstGeom prst="line">
            <a:avLst/>
          </a:prstGeom>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C146725E-6F20-4AFD-853F-DD787C68BAE4}"/>
              </a:ext>
            </a:extLst>
          </p:cNvPr>
          <p:cNvSpPr txBox="1"/>
          <p:nvPr/>
        </p:nvSpPr>
        <p:spPr>
          <a:xfrm>
            <a:off x="958732" y="1688145"/>
            <a:ext cx="1271274" cy="333617"/>
          </a:xfrm>
          <a:prstGeom prst="rect">
            <a:avLst/>
          </a:prstGeom>
          <a:noFill/>
        </p:spPr>
        <p:txBody>
          <a:bodyPr wrap="square" rtlCol="0">
            <a:spAutoFit/>
          </a:bodyPr>
          <a:lstStyle/>
          <a:p>
            <a:r>
              <a:rPr lang="en-US" sz="1568" dirty="0"/>
              <a:t>Colour</a:t>
            </a:r>
          </a:p>
        </p:txBody>
      </p:sp>
      <p:cxnSp>
        <p:nvCxnSpPr>
          <p:cNvPr id="7" name="Straight Connector 6">
            <a:extLst>
              <a:ext uri="{FF2B5EF4-FFF2-40B4-BE49-F238E27FC236}">
                <a16:creationId xmlns:a16="http://schemas.microsoft.com/office/drawing/2014/main" id="{5452F125-A715-49FC-B47D-5EF25C1CDB6D}"/>
              </a:ext>
            </a:extLst>
          </p:cNvPr>
          <p:cNvCxnSpPr>
            <a:cxnSpLocks/>
          </p:cNvCxnSpPr>
          <p:nvPr/>
        </p:nvCxnSpPr>
        <p:spPr>
          <a:xfrm flipH="1" flipV="1">
            <a:off x="3718371" y="2087123"/>
            <a:ext cx="168460" cy="604378"/>
          </a:xfrm>
          <a:prstGeom prst="line">
            <a:avLst/>
          </a:prstGeom>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FE9318F4-E12F-4C5D-B54E-2E1968844100}"/>
              </a:ext>
            </a:extLst>
          </p:cNvPr>
          <p:cNvSpPr txBox="1"/>
          <p:nvPr/>
        </p:nvSpPr>
        <p:spPr>
          <a:xfrm>
            <a:off x="3327608" y="1651126"/>
            <a:ext cx="1271274" cy="333617"/>
          </a:xfrm>
          <a:prstGeom prst="rect">
            <a:avLst/>
          </a:prstGeom>
          <a:noFill/>
        </p:spPr>
        <p:txBody>
          <a:bodyPr wrap="square" rtlCol="0">
            <a:spAutoFit/>
          </a:bodyPr>
          <a:lstStyle/>
          <a:p>
            <a:r>
              <a:rPr lang="en-US" sz="1568" dirty="0"/>
              <a:t>Arrow</a:t>
            </a:r>
          </a:p>
        </p:txBody>
      </p:sp>
      <p:cxnSp>
        <p:nvCxnSpPr>
          <p:cNvPr id="16" name="Straight Connector 15">
            <a:extLst>
              <a:ext uri="{FF2B5EF4-FFF2-40B4-BE49-F238E27FC236}">
                <a16:creationId xmlns:a16="http://schemas.microsoft.com/office/drawing/2014/main" id="{AA8894DF-16DE-4D40-AB37-9E71C092CE09}"/>
              </a:ext>
            </a:extLst>
          </p:cNvPr>
          <p:cNvCxnSpPr>
            <a:cxnSpLocks/>
          </p:cNvCxnSpPr>
          <p:nvPr/>
        </p:nvCxnSpPr>
        <p:spPr>
          <a:xfrm>
            <a:off x="2792701" y="3144214"/>
            <a:ext cx="0" cy="1756384"/>
          </a:xfrm>
          <a:prstGeom prst="line">
            <a:avLst/>
          </a:prstGeom>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EA98F56C-5A77-4EE2-8A40-05EB0C6F9B65}"/>
              </a:ext>
            </a:extLst>
          </p:cNvPr>
          <p:cNvCxnSpPr>
            <a:cxnSpLocks/>
          </p:cNvCxnSpPr>
          <p:nvPr/>
        </p:nvCxnSpPr>
        <p:spPr>
          <a:xfrm flipH="1">
            <a:off x="3035431" y="3171752"/>
            <a:ext cx="2640231" cy="1728846"/>
          </a:xfrm>
          <a:prstGeom prst="line">
            <a:avLst/>
          </a:prstGeom>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36FF82E-6727-489B-9186-3337C64B350B}"/>
              </a:ext>
            </a:extLst>
          </p:cNvPr>
          <p:cNvCxnSpPr>
            <a:cxnSpLocks/>
          </p:cNvCxnSpPr>
          <p:nvPr/>
        </p:nvCxnSpPr>
        <p:spPr>
          <a:xfrm flipV="1">
            <a:off x="4410320" y="2050103"/>
            <a:ext cx="1162325" cy="679110"/>
          </a:xfrm>
          <a:prstGeom prst="line">
            <a:avLst/>
          </a:prstGeom>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0218F28E-71D2-466D-9A03-80099E5AA11D}"/>
              </a:ext>
            </a:extLst>
          </p:cNvPr>
          <p:cNvSpPr txBox="1"/>
          <p:nvPr/>
        </p:nvSpPr>
        <p:spPr>
          <a:xfrm>
            <a:off x="5260372" y="1649649"/>
            <a:ext cx="1271274" cy="333617"/>
          </a:xfrm>
          <a:prstGeom prst="rect">
            <a:avLst/>
          </a:prstGeom>
          <a:noFill/>
        </p:spPr>
        <p:txBody>
          <a:bodyPr wrap="square" rtlCol="0">
            <a:spAutoFit/>
          </a:bodyPr>
          <a:lstStyle/>
          <a:p>
            <a:r>
              <a:rPr lang="en-US" sz="1568" dirty="0"/>
              <a:t>Data value</a:t>
            </a:r>
          </a:p>
        </p:txBody>
      </p:sp>
      <p:sp>
        <p:nvSpPr>
          <p:cNvPr id="9" name="Rectangle 8">
            <a:extLst>
              <a:ext uri="{FF2B5EF4-FFF2-40B4-BE49-F238E27FC236}">
                <a16:creationId xmlns:a16="http://schemas.microsoft.com/office/drawing/2014/main" id="{CF0D0390-38F5-4DE3-9D91-8FAABC39C42E}"/>
              </a:ext>
            </a:extLst>
          </p:cNvPr>
          <p:cNvSpPr/>
          <p:nvPr/>
        </p:nvSpPr>
        <p:spPr>
          <a:xfrm>
            <a:off x="337505" y="374719"/>
            <a:ext cx="4334841" cy="333617"/>
          </a:xfrm>
          <a:prstGeom prst="rect">
            <a:avLst/>
          </a:prstGeom>
        </p:spPr>
        <p:txBody>
          <a:bodyPr wrap="none">
            <a:spAutoFit/>
          </a:bodyPr>
          <a:lstStyle/>
          <a:p>
            <a:r>
              <a:rPr lang="en-US" sz="1568" b="1" dirty="0"/>
              <a:t>3. How to prioritize using scorecard data… </a:t>
            </a:r>
          </a:p>
        </p:txBody>
      </p:sp>
    </p:spTree>
    <p:extLst>
      <p:ext uri="{BB962C8B-B14F-4D97-AF65-F5344CB8AC3E}">
        <p14:creationId xmlns:p14="http://schemas.microsoft.com/office/powerpoint/2010/main" val="6738169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F42D536E-41BB-442F-925E-C89091DFFE5F}"/>
              </a:ext>
            </a:extLst>
          </p:cNvPr>
          <p:cNvPicPr>
            <a:picLocks noChangeAspect="1"/>
          </p:cNvPicPr>
          <p:nvPr/>
        </p:nvPicPr>
        <p:blipFill>
          <a:blip r:embed="rId7"/>
          <a:stretch>
            <a:fillRect/>
          </a:stretch>
        </p:blipFill>
        <p:spPr>
          <a:xfrm>
            <a:off x="-26621" y="5252842"/>
            <a:ext cx="8961438" cy="1468435"/>
          </a:xfrm>
          <a:prstGeom prst="rect">
            <a:avLst/>
          </a:prstGeom>
        </p:spPr>
      </p:pic>
      <p:graphicFrame>
        <p:nvGraphicFramePr>
          <p:cNvPr id="11" name="Object 10" hidden="1"/>
          <p:cNvGraphicFramePr>
            <a:graphicFrameLocks/>
          </p:cNvGraphicFramePr>
          <p:nvPr>
            <p:custDataLst>
              <p:tags r:id="rId1"/>
            </p:custDataLst>
          </p:nvPr>
        </p:nvGraphicFramePr>
        <p:xfrm>
          <a:off x="544" y="398"/>
          <a:ext cx="158732" cy="15873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11" name="Object 10" hidden="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4" y="398"/>
                        <a:ext cx="158732"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93167" y="133498"/>
            <a:ext cx="7213840"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000" dirty="0"/>
              <a:t>When you identify a problem, open Province to see the performance of the Districts…</a:t>
            </a:r>
          </a:p>
        </p:txBody>
      </p:sp>
      <p:pic>
        <p:nvPicPr>
          <p:cNvPr id="3" name="Picture 2">
            <a:extLst>
              <a:ext uri="{FF2B5EF4-FFF2-40B4-BE49-F238E27FC236}">
                <a16:creationId xmlns:a16="http://schemas.microsoft.com/office/drawing/2014/main" id="{52C8F24C-9DFB-4991-B6FC-9B4EB2630B4B}"/>
              </a:ext>
            </a:extLst>
          </p:cNvPr>
          <p:cNvPicPr>
            <a:picLocks noChangeAspect="1"/>
          </p:cNvPicPr>
          <p:nvPr/>
        </p:nvPicPr>
        <p:blipFill rotWithShape="1">
          <a:blip r:embed="rId10"/>
          <a:srcRect b="13092"/>
          <a:stretch/>
        </p:blipFill>
        <p:spPr>
          <a:xfrm>
            <a:off x="0" y="861495"/>
            <a:ext cx="8961438" cy="1853753"/>
          </a:xfrm>
          <a:prstGeom prst="rect">
            <a:avLst/>
          </a:prstGeom>
        </p:spPr>
      </p:pic>
      <p:sp>
        <p:nvSpPr>
          <p:cNvPr id="63" name="Title 1">
            <a:extLst>
              <a:ext uri="{FF2B5EF4-FFF2-40B4-BE49-F238E27FC236}">
                <a16:creationId xmlns:a16="http://schemas.microsoft.com/office/drawing/2014/main" id="{03E6C393-8888-4A2C-806F-D9175FDEBA8C}"/>
              </a:ext>
            </a:extLst>
          </p:cNvPr>
          <p:cNvSpPr txBox="1">
            <a:spLocks/>
          </p:cNvSpPr>
          <p:nvPr>
            <p:custDataLst>
              <p:tags r:id="rId3"/>
            </p:custDataLst>
          </p:nvPr>
        </p:nvSpPr>
        <p:spPr bwMode="auto">
          <a:xfrm>
            <a:off x="84285" y="2782966"/>
            <a:ext cx="8783986" cy="292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US" sz="1900" kern="0" dirty="0"/>
              <a:t>“Drill down” by clicking on the arrow next to the name of the Province</a:t>
            </a:r>
          </a:p>
        </p:txBody>
      </p:sp>
      <p:sp>
        <p:nvSpPr>
          <p:cNvPr id="26" name="Oval 25">
            <a:extLst>
              <a:ext uri="{FF2B5EF4-FFF2-40B4-BE49-F238E27FC236}">
                <a16:creationId xmlns:a16="http://schemas.microsoft.com/office/drawing/2014/main" id="{B3E0ED96-27ED-4566-AFF3-2ED8FF9F06DC}"/>
              </a:ext>
            </a:extLst>
          </p:cNvPr>
          <p:cNvSpPr/>
          <p:nvPr/>
        </p:nvSpPr>
        <p:spPr>
          <a:xfrm>
            <a:off x="3219319" y="2344176"/>
            <a:ext cx="1066200" cy="264601"/>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pic>
        <p:nvPicPr>
          <p:cNvPr id="30" name="Picture 29">
            <a:extLst>
              <a:ext uri="{FF2B5EF4-FFF2-40B4-BE49-F238E27FC236}">
                <a16:creationId xmlns:a16="http://schemas.microsoft.com/office/drawing/2014/main" id="{000606AE-19CD-47E6-9FC2-AEABBB6243C3}"/>
              </a:ext>
            </a:extLst>
          </p:cNvPr>
          <p:cNvPicPr>
            <a:picLocks noChangeAspect="1"/>
          </p:cNvPicPr>
          <p:nvPr/>
        </p:nvPicPr>
        <p:blipFill>
          <a:blip r:embed="rId11"/>
          <a:stretch>
            <a:fillRect/>
          </a:stretch>
        </p:blipFill>
        <p:spPr>
          <a:xfrm>
            <a:off x="0" y="3110729"/>
            <a:ext cx="8961438" cy="1669652"/>
          </a:xfrm>
          <a:prstGeom prst="rect">
            <a:avLst/>
          </a:prstGeom>
        </p:spPr>
      </p:pic>
      <p:cxnSp>
        <p:nvCxnSpPr>
          <p:cNvPr id="24" name="Straight Arrow Connector 23">
            <a:extLst>
              <a:ext uri="{FF2B5EF4-FFF2-40B4-BE49-F238E27FC236}">
                <a16:creationId xmlns:a16="http://schemas.microsoft.com/office/drawing/2014/main" id="{2EA9FEDE-BB1D-4188-892B-C360E491E497}"/>
              </a:ext>
            </a:extLst>
          </p:cNvPr>
          <p:cNvCxnSpPr>
            <a:cxnSpLocks/>
          </p:cNvCxnSpPr>
          <p:nvPr/>
        </p:nvCxnSpPr>
        <p:spPr>
          <a:xfrm flipH="1">
            <a:off x="93166" y="3075423"/>
            <a:ext cx="227049" cy="8642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Oval 19">
            <a:extLst>
              <a:ext uri="{FF2B5EF4-FFF2-40B4-BE49-F238E27FC236}">
                <a16:creationId xmlns:a16="http://schemas.microsoft.com/office/drawing/2014/main" id="{FC1818C9-67AF-49F9-A5DB-D7DEE8390BD3}"/>
              </a:ext>
            </a:extLst>
          </p:cNvPr>
          <p:cNvSpPr/>
          <p:nvPr/>
        </p:nvSpPr>
        <p:spPr>
          <a:xfrm>
            <a:off x="4" y="4164569"/>
            <a:ext cx="186327" cy="209884"/>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33" name="Oval 32">
            <a:extLst>
              <a:ext uri="{FF2B5EF4-FFF2-40B4-BE49-F238E27FC236}">
                <a16:creationId xmlns:a16="http://schemas.microsoft.com/office/drawing/2014/main" id="{7C8BF4E5-F21B-48B6-A20A-9DB662785249}"/>
              </a:ext>
            </a:extLst>
          </p:cNvPr>
          <p:cNvSpPr/>
          <p:nvPr/>
        </p:nvSpPr>
        <p:spPr>
          <a:xfrm>
            <a:off x="3315442" y="4321311"/>
            <a:ext cx="1066200" cy="264601"/>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34" name="Title 1">
            <a:extLst>
              <a:ext uri="{FF2B5EF4-FFF2-40B4-BE49-F238E27FC236}">
                <a16:creationId xmlns:a16="http://schemas.microsoft.com/office/drawing/2014/main" id="{7938046A-978C-43CB-83B8-19AC67717CED}"/>
              </a:ext>
            </a:extLst>
          </p:cNvPr>
          <p:cNvSpPr txBox="1">
            <a:spLocks/>
          </p:cNvSpPr>
          <p:nvPr>
            <p:custDataLst>
              <p:tags r:id="rId4"/>
            </p:custDataLst>
          </p:nvPr>
        </p:nvSpPr>
        <p:spPr bwMode="auto">
          <a:xfrm>
            <a:off x="93167" y="4870383"/>
            <a:ext cx="8783986" cy="292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US" sz="1900" kern="0" dirty="0"/>
              <a:t>Open Districts to see the performance of health facilities</a:t>
            </a:r>
          </a:p>
        </p:txBody>
      </p:sp>
      <p:cxnSp>
        <p:nvCxnSpPr>
          <p:cNvPr id="98" name="Straight Arrow Connector 97">
            <a:extLst>
              <a:ext uri="{FF2B5EF4-FFF2-40B4-BE49-F238E27FC236}">
                <a16:creationId xmlns:a16="http://schemas.microsoft.com/office/drawing/2014/main" id="{34959D10-DF04-4A65-B649-D5EAA5ADACAD}"/>
              </a:ext>
            </a:extLst>
          </p:cNvPr>
          <p:cNvCxnSpPr>
            <a:cxnSpLocks/>
          </p:cNvCxnSpPr>
          <p:nvPr/>
        </p:nvCxnSpPr>
        <p:spPr>
          <a:xfrm flipH="1">
            <a:off x="118307" y="5194523"/>
            <a:ext cx="227049" cy="8642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5" name="Oval 34">
            <a:extLst>
              <a:ext uri="{FF2B5EF4-FFF2-40B4-BE49-F238E27FC236}">
                <a16:creationId xmlns:a16="http://schemas.microsoft.com/office/drawing/2014/main" id="{B4F3C7B6-669E-4845-B2A8-4FE3C145FF15}"/>
              </a:ext>
            </a:extLst>
          </p:cNvPr>
          <p:cNvSpPr/>
          <p:nvPr/>
        </p:nvSpPr>
        <p:spPr>
          <a:xfrm>
            <a:off x="-28089" y="6061856"/>
            <a:ext cx="186327" cy="209884"/>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36" name="Oval 35">
            <a:extLst>
              <a:ext uri="{FF2B5EF4-FFF2-40B4-BE49-F238E27FC236}">
                <a16:creationId xmlns:a16="http://schemas.microsoft.com/office/drawing/2014/main" id="{A16D3D29-5FA4-4C3F-8EEB-4C9F5AA3B64C}"/>
              </a:ext>
            </a:extLst>
          </p:cNvPr>
          <p:cNvSpPr/>
          <p:nvPr/>
        </p:nvSpPr>
        <p:spPr>
          <a:xfrm>
            <a:off x="3225239" y="6209721"/>
            <a:ext cx="1066200" cy="209885"/>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4" name="TextBox 3">
            <a:extLst>
              <a:ext uri="{FF2B5EF4-FFF2-40B4-BE49-F238E27FC236}">
                <a16:creationId xmlns:a16="http://schemas.microsoft.com/office/drawing/2014/main" id="{F2C48319-B8FD-4FA8-A4EC-64B28C196CA9}"/>
              </a:ext>
            </a:extLst>
          </p:cNvPr>
          <p:cNvSpPr txBox="1"/>
          <p:nvPr/>
        </p:nvSpPr>
        <p:spPr>
          <a:xfrm>
            <a:off x="6471747" y="3258015"/>
            <a:ext cx="2396524" cy="3293209"/>
          </a:xfrm>
          <a:prstGeom prst="rect">
            <a:avLst/>
          </a:prstGeom>
          <a:solidFill>
            <a:srgbClr val="FFC000"/>
          </a:solidFill>
          <a:ln>
            <a:solidFill>
              <a:schemeClr val="tx2"/>
            </a:solidFill>
          </a:ln>
        </p:spPr>
        <p:txBody>
          <a:bodyPr wrap="square" rtlCol="0">
            <a:spAutoFit/>
          </a:bodyPr>
          <a:lstStyle/>
          <a:p>
            <a:r>
              <a:rPr lang="en-US" dirty="0"/>
              <a:t>Open Province to see which Districts are contributing to the under performance</a:t>
            </a:r>
          </a:p>
          <a:p>
            <a:endParaRPr lang="en-US" dirty="0"/>
          </a:p>
          <a:p>
            <a:r>
              <a:rPr lang="en-US" dirty="0"/>
              <a:t>Open District to see which health facilities are contributing to the under performance</a:t>
            </a:r>
          </a:p>
          <a:p>
            <a:endParaRPr lang="en-US" dirty="0"/>
          </a:p>
          <a:p>
            <a:r>
              <a:rPr lang="en-US" dirty="0"/>
              <a:t>This will help you “find” where the problem is</a:t>
            </a:r>
          </a:p>
          <a:p>
            <a:endParaRPr lang="en-US" dirty="0"/>
          </a:p>
        </p:txBody>
      </p:sp>
    </p:spTree>
    <p:extLst>
      <p:ext uri="{BB962C8B-B14F-4D97-AF65-F5344CB8AC3E}">
        <p14:creationId xmlns:p14="http://schemas.microsoft.com/office/powerpoint/2010/main" val="667052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VU" dirty="0"/>
              <a:t>Sorting method</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err="1">
                <a:solidFill>
                  <a:prstClr val="black">
                    <a:lumMod val="65000"/>
                    <a:lumOff val="35000"/>
                  </a:prstClr>
                </a:solidFill>
              </a:rPr>
              <a:t>Analyse</a:t>
            </a:r>
            <a:r>
              <a:rPr lang="en-US" sz="2352" b="0" dirty="0">
                <a:solidFill>
                  <a:prstClr val="black">
                    <a:lumMod val="65000"/>
                    <a:lumOff val="35000"/>
                  </a:prstClr>
                </a:solidFill>
              </a:rPr>
              <a:t> a scorecard </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427596"/>
            <a:ext cx="4032647" cy="159037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In the web platform, click on the name of the indicator on the top of the column to quickly sort the values</a:t>
            </a:r>
          </a:p>
          <a:p>
            <a:pPr marL="336042" indent="-336042" defTabSz="672067" fontAlgn="auto">
              <a:lnSpc>
                <a:spcPts val="2352"/>
              </a:lnSpc>
              <a:spcAft>
                <a:spcPts val="588"/>
              </a:spcAft>
              <a:buFont typeface="Arial" panose="020B0604020202020204" pitchFamily="34" charset="0"/>
              <a:buChar char="•"/>
            </a:pPr>
            <a:r>
              <a:rPr lang="en-VU" sz="1764" dirty="0">
                <a:solidFill>
                  <a:srgbClr val="D8D8D8">
                    <a:lumMod val="10000"/>
                  </a:srgbClr>
                </a:solidFill>
              </a:rPr>
              <a:t>This shows</a:t>
            </a:r>
            <a:r>
              <a:rPr lang="en-US" sz="1764" dirty="0">
                <a:solidFill>
                  <a:srgbClr val="D8D8D8">
                    <a:lumMod val="10000"/>
                  </a:srgbClr>
                </a:solidFill>
              </a:rPr>
              <a:t> which places are underperforming </a:t>
            </a:r>
          </a:p>
        </p:txBody>
      </p:sp>
      <p:pic>
        <p:nvPicPr>
          <p:cNvPr id="3" name="Picture 2">
            <a:extLst>
              <a:ext uri="{FF2B5EF4-FFF2-40B4-BE49-F238E27FC236}">
                <a16:creationId xmlns:a16="http://schemas.microsoft.com/office/drawing/2014/main" id="{CE2C7F83-D527-467C-8A84-74FC7B449E26}"/>
              </a:ext>
            </a:extLst>
          </p:cNvPr>
          <p:cNvPicPr>
            <a:picLocks noChangeAspect="1"/>
          </p:cNvPicPr>
          <p:nvPr/>
        </p:nvPicPr>
        <p:blipFill rotWithShape="1">
          <a:blip r:embed="rId3"/>
          <a:srcRect l="5344" r="6721"/>
          <a:stretch/>
        </p:blipFill>
        <p:spPr>
          <a:xfrm>
            <a:off x="7231105" y="745163"/>
            <a:ext cx="1110273" cy="5400355"/>
          </a:xfrm>
          <a:prstGeom prst="rect">
            <a:avLst/>
          </a:prstGeom>
          <a:ln>
            <a:solidFill>
              <a:schemeClr val="accent1"/>
            </a:solidFill>
          </a:ln>
        </p:spPr>
      </p:pic>
      <p:grpSp>
        <p:nvGrpSpPr>
          <p:cNvPr id="2" name="Group 1">
            <a:extLst>
              <a:ext uri="{FF2B5EF4-FFF2-40B4-BE49-F238E27FC236}">
                <a16:creationId xmlns:a16="http://schemas.microsoft.com/office/drawing/2014/main" id="{DEDB42C2-36C2-4DD5-9A77-4EAB5974BC44}"/>
              </a:ext>
            </a:extLst>
          </p:cNvPr>
          <p:cNvGrpSpPr/>
          <p:nvPr/>
        </p:nvGrpSpPr>
        <p:grpSpPr>
          <a:xfrm>
            <a:off x="5343685" y="933838"/>
            <a:ext cx="3082556" cy="5255164"/>
            <a:chOff x="5452546" y="952660"/>
            <a:chExt cx="3145354" cy="5362222"/>
          </a:xfrm>
        </p:grpSpPr>
        <p:pic>
          <p:nvPicPr>
            <p:cNvPr id="5" name="Picture 2">
              <a:extLst>
                <a:ext uri="{FF2B5EF4-FFF2-40B4-BE49-F238E27FC236}">
                  <a16:creationId xmlns:a16="http://schemas.microsoft.com/office/drawing/2014/main" id="{5EECD58D-BDDE-4D65-B356-051A58B5504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78472" y="952660"/>
              <a:ext cx="619428" cy="814501"/>
            </a:xfrm>
            <a:prstGeom prst="rect">
              <a:avLst/>
            </a:prstGeom>
            <a:noFill/>
            <a:extLst>
              <a:ext uri="{909E8E84-426E-40DD-AFC4-6F175D3DCCD1}">
                <a14:hiddenFill xmlns:a14="http://schemas.microsoft.com/office/drawing/2010/main">
                  <a:solidFill>
                    <a:srgbClr val="FFFFFF"/>
                  </a:solidFill>
                </a14:hiddenFill>
              </a:ext>
            </a:extLst>
          </p:spPr>
        </p:pic>
        <p:sp>
          <p:nvSpPr>
            <p:cNvPr id="6" name="Arrow: Down 5">
              <a:extLst>
                <a:ext uri="{FF2B5EF4-FFF2-40B4-BE49-F238E27FC236}">
                  <a16:creationId xmlns:a16="http://schemas.microsoft.com/office/drawing/2014/main" id="{93D7967E-5088-43AC-9653-9572AD237B2A}"/>
                </a:ext>
              </a:extLst>
            </p:cNvPr>
            <p:cNvSpPr/>
            <p:nvPr/>
          </p:nvSpPr>
          <p:spPr>
            <a:xfrm>
              <a:off x="6772255" y="1346200"/>
              <a:ext cx="415926" cy="4924312"/>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800">
                <a:solidFill>
                  <a:prstClr val="white"/>
                </a:solidFill>
                <a:latin typeface="Calibri" panose="020F0502020204030204"/>
              </a:endParaRPr>
            </a:p>
          </p:txBody>
        </p:sp>
        <p:sp>
          <p:nvSpPr>
            <p:cNvPr id="13" name="Text Placeholder 5">
              <a:extLst>
                <a:ext uri="{FF2B5EF4-FFF2-40B4-BE49-F238E27FC236}">
                  <a16:creationId xmlns:a16="http://schemas.microsoft.com/office/drawing/2014/main" id="{DBA35F25-C971-4713-9495-AB06BB4C9DB9}"/>
                </a:ext>
              </a:extLst>
            </p:cNvPr>
            <p:cNvSpPr txBox="1">
              <a:spLocks/>
            </p:cNvSpPr>
            <p:nvPr/>
          </p:nvSpPr>
          <p:spPr>
            <a:xfrm>
              <a:off x="5580764" y="1347210"/>
              <a:ext cx="1132892" cy="31404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defTabSz="672067" fontAlgn="auto">
                <a:lnSpc>
                  <a:spcPts val="2352"/>
                </a:lnSpc>
                <a:spcAft>
                  <a:spcPts val="588"/>
                </a:spcAft>
              </a:pPr>
              <a:r>
                <a:rPr lang="en-VU" sz="2352" dirty="0">
                  <a:solidFill>
                    <a:srgbClr val="D8D8D8">
                      <a:lumMod val="10000"/>
                    </a:srgbClr>
                  </a:solidFill>
                </a:rPr>
                <a:t>Lowest</a:t>
              </a:r>
              <a:endParaRPr lang="en-US" sz="2352" dirty="0">
                <a:solidFill>
                  <a:srgbClr val="D8D8D8">
                    <a:lumMod val="10000"/>
                  </a:srgbClr>
                </a:solidFill>
              </a:endParaRPr>
            </a:p>
          </p:txBody>
        </p:sp>
        <p:sp>
          <p:nvSpPr>
            <p:cNvPr id="14" name="Text Placeholder 5">
              <a:extLst>
                <a:ext uri="{FF2B5EF4-FFF2-40B4-BE49-F238E27FC236}">
                  <a16:creationId xmlns:a16="http://schemas.microsoft.com/office/drawing/2014/main" id="{D1503B67-2CFD-4614-9006-360924B74F63}"/>
                </a:ext>
              </a:extLst>
            </p:cNvPr>
            <p:cNvSpPr txBox="1">
              <a:spLocks/>
            </p:cNvSpPr>
            <p:nvPr/>
          </p:nvSpPr>
          <p:spPr>
            <a:xfrm>
              <a:off x="5452546" y="6000835"/>
              <a:ext cx="1132892" cy="31404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defTabSz="672067" fontAlgn="auto">
                <a:lnSpc>
                  <a:spcPts val="2352"/>
                </a:lnSpc>
                <a:spcAft>
                  <a:spcPts val="588"/>
                </a:spcAft>
              </a:pPr>
              <a:r>
                <a:rPr lang="en-VU" sz="2352" dirty="0">
                  <a:solidFill>
                    <a:srgbClr val="D8D8D8">
                      <a:lumMod val="10000"/>
                    </a:srgbClr>
                  </a:solidFill>
                </a:rPr>
                <a:t>Highest</a:t>
              </a:r>
              <a:endParaRPr lang="en-US" sz="2352" dirty="0">
                <a:solidFill>
                  <a:srgbClr val="D8D8D8">
                    <a:lumMod val="10000"/>
                  </a:srgbClr>
                </a:solidFill>
              </a:endParaRPr>
            </a:p>
          </p:txBody>
        </p:sp>
      </p:grpSp>
    </p:spTree>
    <p:custDataLst>
      <p:tags r:id="rId1"/>
    </p:custDataLst>
    <p:extLst>
      <p:ext uri="{BB962C8B-B14F-4D97-AF65-F5344CB8AC3E}">
        <p14:creationId xmlns:p14="http://schemas.microsoft.com/office/powerpoint/2010/main" val="3407235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24"/>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The Hub was launched by HE President Kenyatta to accelerate health digitisation across Africa</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About the Scorecard Hub</a:t>
            </a:r>
            <a:endParaRPr lang="en-GB" sz="2352" b="0" dirty="0">
              <a:solidFill>
                <a:prstClr val="black">
                  <a:lumMod val="65000"/>
                  <a:lumOff val="35000"/>
                </a:prstClr>
              </a:solidFill>
            </a:endParaRPr>
          </a:p>
        </p:txBody>
      </p:sp>
      <p:pic>
        <p:nvPicPr>
          <p:cNvPr id="5" name="Scorecard_Hub_(English)_-_Kenyatta" descr="Scorecard_Hub_(English)_-_Kenyatta">
            <a:hlinkClick r:id="" action="ppaction://media"/>
            <a:extLst>
              <a:ext uri="{FF2B5EF4-FFF2-40B4-BE49-F238E27FC236}">
                <a16:creationId xmlns:a16="http://schemas.microsoft.com/office/drawing/2014/main" id="{97273B24-7512-624B-9548-30C7160DB52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517579" y="1596676"/>
            <a:ext cx="7926281" cy="4458533"/>
          </a:xfrm>
          <a:prstGeom prst="rect">
            <a:avLst/>
          </a:prstGeom>
        </p:spPr>
      </p:pic>
    </p:spTree>
    <p:extLst>
      <p:ext uri="{BB962C8B-B14F-4D97-AF65-F5344CB8AC3E}">
        <p14:creationId xmlns:p14="http://schemas.microsoft.com/office/powerpoint/2010/main" val="2630790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709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56205"/>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a:t>Trend analysi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err="1">
                <a:solidFill>
                  <a:prstClr val="black">
                    <a:lumMod val="65000"/>
                    <a:lumOff val="35000"/>
                  </a:prstClr>
                </a:solidFill>
              </a:rPr>
              <a:t>Analyse</a:t>
            </a:r>
            <a:r>
              <a:rPr lang="en-US" sz="2352" b="0" dirty="0">
                <a:solidFill>
                  <a:prstClr val="black">
                    <a:lumMod val="65000"/>
                    <a:lumOff val="35000"/>
                  </a:prstClr>
                </a:solidFill>
              </a:rPr>
              <a:t> a scorecard </a:t>
            </a:r>
            <a:endParaRPr lang="en-GB" sz="2352" b="0" dirty="0">
              <a:solidFill>
                <a:prstClr val="black">
                  <a:lumMod val="65000"/>
                  <a:lumOff val="35000"/>
                </a:prstClr>
              </a:solidFill>
            </a:endParaRPr>
          </a:p>
        </p:txBody>
      </p:sp>
      <p:grpSp>
        <p:nvGrpSpPr>
          <p:cNvPr id="4" name="Group 3">
            <a:extLst>
              <a:ext uri="{FF2B5EF4-FFF2-40B4-BE49-F238E27FC236}">
                <a16:creationId xmlns:a16="http://schemas.microsoft.com/office/drawing/2014/main" id="{E919248F-A1DE-4128-AE62-E4272B601FC5}"/>
              </a:ext>
            </a:extLst>
          </p:cNvPr>
          <p:cNvGrpSpPr/>
          <p:nvPr/>
        </p:nvGrpSpPr>
        <p:grpSpPr>
          <a:xfrm>
            <a:off x="448072" y="1126918"/>
            <a:ext cx="8074380" cy="1465333"/>
            <a:chOff x="457200" y="1149673"/>
            <a:chExt cx="8238871" cy="1495185"/>
          </a:xfrm>
        </p:grpSpPr>
        <p:pic>
          <p:nvPicPr>
            <p:cNvPr id="3" name="Picture 2">
              <a:extLst>
                <a:ext uri="{FF2B5EF4-FFF2-40B4-BE49-F238E27FC236}">
                  <a16:creationId xmlns:a16="http://schemas.microsoft.com/office/drawing/2014/main" id="{898B9BAD-D2D6-479D-8014-B8FADD5B0743}"/>
                </a:ext>
              </a:extLst>
            </p:cNvPr>
            <p:cNvPicPr>
              <a:picLocks noChangeAspect="1"/>
            </p:cNvPicPr>
            <p:nvPr/>
          </p:nvPicPr>
          <p:blipFill>
            <a:blip r:embed="rId3"/>
            <a:stretch>
              <a:fillRect/>
            </a:stretch>
          </p:blipFill>
          <p:spPr>
            <a:xfrm>
              <a:off x="3730295" y="1149673"/>
              <a:ext cx="4965776" cy="1495185"/>
            </a:xfrm>
            <a:prstGeom prst="rect">
              <a:avLst/>
            </a:prstGeom>
          </p:spPr>
        </p:pic>
        <p:sp>
          <p:nvSpPr>
            <p:cNvPr id="17" name="TextBox 16">
              <a:extLst>
                <a:ext uri="{FF2B5EF4-FFF2-40B4-BE49-F238E27FC236}">
                  <a16:creationId xmlns:a16="http://schemas.microsoft.com/office/drawing/2014/main" id="{472207E0-3CEF-4EB7-8E76-F35628F66BF2}"/>
                </a:ext>
              </a:extLst>
            </p:cNvPr>
            <p:cNvSpPr txBox="1"/>
            <p:nvPr/>
          </p:nvSpPr>
          <p:spPr>
            <a:xfrm>
              <a:off x="457200" y="1337071"/>
              <a:ext cx="2984468" cy="984885"/>
            </a:xfrm>
            <a:prstGeom prst="rect">
              <a:avLst/>
            </a:prstGeom>
            <a:noFill/>
          </p:spPr>
          <p:txBody>
            <a:bodyPr wrap="square" lIns="0" tIns="0" rIns="0" bIns="0">
              <a:spAutoFit/>
            </a:bodyPr>
            <a:lstStyle/>
            <a:p>
              <a:pPr defTabSz="896112" fontAlgn="auto">
                <a:spcBef>
                  <a:spcPts val="0"/>
                </a:spcBef>
                <a:spcAft>
                  <a:spcPts val="0"/>
                </a:spcAft>
              </a:pPr>
              <a:r>
                <a:rPr lang="en-GB" sz="1568" b="1" dirty="0">
                  <a:solidFill>
                    <a:srgbClr val="D8D8D8">
                      <a:lumMod val="10000"/>
                    </a:srgbClr>
                  </a:solidFill>
                  <a:latin typeface="Arial" panose="020B0604020202020204" pitchFamily="34" charset="0"/>
                  <a:cs typeface="Arial" panose="020B0604020202020204" pitchFamily="34" charset="0"/>
                </a:rPr>
                <a:t>Subnational view </a:t>
              </a:r>
              <a:br>
                <a:rPr lang="en-GB" sz="1568" dirty="0">
                  <a:solidFill>
                    <a:srgbClr val="D8D8D8">
                      <a:lumMod val="10000"/>
                    </a:srgbClr>
                  </a:solidFill>
                  <a:latin typeface="Arial" panose="020B0604020202020204" pitchFamily="34" charset="0"/>
                  <a:cs typeface="Arial" panose="020B0604020202020204" pitchFamily="34" charset="0"/>
                </a:rPr>
              </a:br>
              <a:r>
                <a:rPr lang="en-GB" sz="1568" dirty="0" err="1">
                  <a:solidFill>
                    <a:srgbClr val="D8D8D8">
                      <a:lumMod val="10000"/>
                    </a:srgbClr>
                  </a:solidFill>
                  <a:latin typeface="Arial" panose="020B0604020202020204" pitchFamily="34" charset="0"/>
                  <a:cs typeface="Arial" panose="020B0604020202020204" pitchFamily="34" charset="0"/>
                </a:rPr>
                <a:t>View</a:t>
              </a:r>
              <a:r>
                <a:rPr lang="en-GB" sz="1568" dirty="0">
                  <a:solidFill>
                    <a:srgbClr val="D8D8D8">
                      <a:lumMod val="10000"/>
                    </a:srgbClr>
                  </a:solidFill>
                  <a:latin typeface="Arial" panose="020B0604020202020204" pitchFamily="34" charset="0"/>
                  <a:cs typeface="Arial" panose="020B0604020202020204" pitchFamily="34" charset="0"/>
                </a:rPr>
                <a:t> how one particular location is performing across all scorecard indicators.</a:t>
              </a:r>
            </a:p>
          </p:txBody>
        </p:sp>
      </p:grpSp>
      <p:grpSp>
        <p:nvGrpSpPr>
          <p:cNvPr id="7" name="Group 6">
            <a:extLst>
              <a:ext uri="{FF2B5EF4-FFF2-40B4-BE49-F238E27FC236}">
                <a16:creationId xmlns:a16="http://schemas.microsoft.com/office/drawing/2014/main" id="{69CE38ED-4789-404D-8D54-65D8C890CEA4}"/>
              </a:ext>
            </a:extLst>
          </p:cNvPr>
          <p:cNvGrpSpPr/>
          <p:nvPr/>
        </p:nvGrpSpPr>
        <p:grpSpPr>
          <a:xfrm>
            <a:off x="448072" y="2783918"/>
            <a:ext cx="8062583" cy="1601024"/>
            <a:chOff x="457200" y="2840430"/>
            <a:chExt cx="8226834" cy="1633640"/>
          </a:xfrm>
        </p:grpSpPr>
        <p:pic>
          <p:nvPicPr>
            <p:cNvPr id="2" name="Picture 1">
              <a:extLst>
                <a:ext uri="{FF2B5EF4-FFF2-40B4-BE49-F238E27FC236}">
                  <a16:creationId xmlns:a16="http://schemas.microsoft.com/office/drawing/2014/main" id="{614238CB-DB96-41BA-A152-E1B1B5FC950D}"/>
                </a:ext>
              </a:extLst>
            </p:cNvPr>
            <p:cNvPicPr>
              <a:picLocks noChangeAspect="1"/>
            </p:cNvPicPr>
            <p:nvPr/>
          </p:nvPicPr>
          <p:blipFill>
            <a:blip r:embed="rId4"/>
            <a:stretch>
              <a:fillRect/>
            </a:stretch>
          </p:blipFill>
          <p:spPr>
            <a:xfrm>
              <a:off x="3718258" y="2840430"/>
              <a:ext cx="4965776" cy="1633640"/>
            </a:xfrm>
            <a:prstGeom prst="rect">
              <a:avLst/>
            </a:prstGeom>
          </p:spPr>
        </p:pic>
        <p:sp>
          <p:nvSpPr>
            <p:cNvPr id="6" name="TextBox 5">
              <a:extLst>
                <a:ext uri="{FF2B5EF4-FFF2-40B4-BE49-F238E27FC236}">
                  <a16:creationId xmlns:a16="http://schemas.microsoft.com/office/drawing/2014/main" id="{341142A5-037F-40CC-BA70-764D654DD782}"/>
                </a:ext>
              </a:extLst>
            </p:cNvPr>
            <p:cNvSpPr txBox="1"/>
            <p:nvPr/>
          </p:nvSpPr>
          <p:spPr>
            <a:xfrm>
              <a:off x="457200" y="2878530"/>
              <a:ext cx="2984468" cy="984885"/>
            </a:xfrm>
            <a:prstGeom prst="rect">
              <a:avLst/>
            </a:prstGeom>
            <a:noFill/>
          </p:spPr>
          <p:txBody>
            <a:bodyPr wrap="square" lIns="0" tIns="0" rIns="0" bIns="0">
              <a:spAutoFit/>
            </a:bodyPr>
            <a:lstStyle/>
            <a:p>
              <a:pPr defTabSz="896112" fontAlgn="auto">
                <a:spcBef>
                  <a:spcPts val="0"/>
                </a:spcBef>
                <a:spcAft>
                  <a:spcPts val="0"/>
                </a:spcAft>
              </a:pPr>
              <a:r>
                <a:rPr lang="en-GB" sz="1568" b="1" dirty="0">
                  <a:solidFill>
                    <a:srgbClr val="D8D8D8">
                      <a:lumMod val="10000"/>
                    </a:srgbClr>
                  </a:solidFill>
                  <a:latin typeface="Arial" panose="020B0604020202020204" pitchFamily="34" charset="0"/>
                  <a:cs typeface="Arial" panose="020B0604020202020204" pitchFamily="34" charset="0"/>
                </a:rPr>
                <a:t>Indicator view </a:t>
              </a:r>
              <a:br>
                <a:rPr lang="en-GB" sz="1568" dirty="0">
                  <a:solidFill>
                    <a:srgbClr val="D8D8D8">
                      <a:lumMod val="10000"/>
                    </a:srgbClr>
                  </a:solidFill>
                  <a:latin typeface="Arial" panose="020B0604020202020204" pitchFamily="34" charset="0"/>
                  <a:cs typeface="Arial" panose="020B0604020202020204" pitchFamily="34" charset="0"/>
                </a:rPr>
              </a:br>
              <a:r>
                <a:rPr lang="en-GB" sz="1568" dirty="0" err="1">
                  <a:solidFill>
                    <a:srgbClr val="D8D8D8">
                      <a:lumMod val="10000"/>
                    </a:srgbClr>
                  </a:solidFill>
                  <a:latin typeface="Arial" panose="020B0604020202020204" pitchFamily="34" charset="0"/>
                  <a:cs typeface="Arial" panose="020B0604020202020204" pitchFamily="34" charset="0"/>
                </a:rPr>
                <a:t>View</a:t>
              </a:r>
              <a:r>
                <a:rPr lang="en-GB" sz="1568" dirty="0">
                  <a:solidFill>
                    <a:srgbClr val="D8D8D8">
                      <a:lumMod val="10000"/>
                    </a:srgbClr>
                  </a:solidFill>
                  <a:latin typeface="Arial" panose="020B0604020202020204" pitchFamily="34" charset="0"/>
                  <a:cs typeface="Arial" panose="020B0604020202020204" pitchFamily="34" charset="0"/>
                </a:rPr>
                <a:t> how one indicator is performing across all locations, within a selected time range.</a:t>
              </a:r>
            </a:p>
          </p:txBody>
        </p:sp>
      </p:grpSp>
      <p:grpSp>
        <p:nvGrpSpPr>
          <p:cNvPr id="8" name="Group 7">
            <a:extLst>
              <a:ext uri="{FF2B5EF4-FFF2-40B4-BE49-F238E27FC236}">
                <a16:creationId xmlns:a16="http://schemas.microsoft.com/office/drawing/2014/main" id="{62FEDC08-2945-48EF-B1DF-C9CBCB44FF68}"/>
              </a:ext>
            </a:extLst>
          </p:cNvPr>
          <p:cNvGrpSpPr/>
          <p:nvPr/>
        </p:nvGrpSpPr>
        <p:grpSpPr>
          <a:xfrm>
            <a:off x="448073" y="4561848"/>
            <a:ext cx="8086175" cy="1628048"/>
            <a:chOff x="457200" y="4654579"/>
            <a:chExt cx="8250907" cy="1661215"/>
          </a:xfrm>
        </p:grpSpPr>
        <p:sp>
          <p:nvSpPr>
            <p:cNvPr id="20" name="TextBox 19">
              <a:extLst>
                <a:ext uri="{FF2B5EF4-FFF2-40B4-BE49-F238E27FC236}">
                  <a16:creationId xmlns:a16="http://schemas.microsoft.com/office/drawing/2014/main" id="{35A9A471-F181-4CA0-AA37-ED17A16C6035}"/>
                </a:ext>
              </a:extLst>
            </p:cNvPr>
            <p:cNvSpPr txBox="1"/>
            <p:nvPr/>
          </p:nvSpPr>
          <p:spPr>
            <a:xfrm>
              <a:off x="457200" y="4674470"/>
              <a:ext cx="3126566" cy="1231106"/>
            </a:xfrm>
            <a:prstGeom prst="rect">
              <a:avLst/>
            </a:prstGeom>
            <a:noFill/>
          </p:spPr>
          <p:txBody>
            <a:bodyPr wrap="square" lIns="0" tIns="0" rIns="0" bIns="0">
              <a:spAutoFit/>
            </a:bodyPr>
            <a:lstStyle/>
            <a:p>
              <a:pPr defTabSz="896112" fontAlgn="auto">
                <a:spcBef>
                  <a:spcPts val="0"/>
                </a:spcBef>
                <a:spcAft>
                  <a:spcPts val="0"/>
                </a:spcAft>
              </a:pPr>
              <a:r>
                <a:rPr lang="en-VU" sz="1568" b="1" dirty="0">
                  <a:solidFill>
                    <a:srgbClr val="D8D8D8">
                      <a:lumMod val="10000"/>
                    </a:srgbClr>
                  </a:solidFill>
                  <a:latin typeface="Arial" panose="020B0604020202020204" pitchFamily="34" charset="0"/>
                  <a:cs typeface="Arial" panose="020B0604020202020204" pitchFamily="34" charset="0"/>
                </a:rPr>
                <a:t>Graphs</a:t>
              </a:r>
              <a:endParaRPr lang="en-US" sz="1568" b="1" dirty="0">
                <a:solidFill>
                  <a:srgbClr val="D8D8D8">
                    <a:lumMod val="10000"/>
                  </a:srgbClr>
                </a:solidFill>
                <a:latin typeface="Arial" panose="020B0604020202020204" pitchFamily="34" charset="0"/>
                <a:cs typeface="Arial" panose="020B0604020202020204" pitchFamily="34" charset="0"/>
              </a:endParaRPr>
            </a:p>
            <a:p>
              <a:pPr defTabSz="896112" fontAlgn="auto">
                <a:spcBef>
                  <a:spcPts val="0"/>
                </a:spcBef>
                <a:spcAft>
                  <a:spcPts val="0"/>
                </a:spcAft>
              </a:pPr>
              <a:r>
                <a:rPr lang="en-US" sz="1568" dirty="0">
                  <a:solidFill>
                    <a:srgbClr val="D8D8D8">
                      <a:lumMod val="10000"/>
                    </a:srgbClr>
                  </a:solidFill>
                  <a:latin typeface="Arial" panose="020B0604020202020204" pitchFamily="34" charset="0"/>
                  <a:cs typeface="Arial" panose="020B0604020202020204" pitchFamily="34" charset="0"/>
                </a:rPr>
                <a:t>View how one indicator is performing across multiple locations and across a specified time interval in a line or bar graph.</a:t>
              </a:r>
              <a:endParaRPr lang="en-GB" sz="1568" dirty="0">
                <a:solidFill>
                  <a:srgbClr val="D8D8D8">
                    <a:lumMod val="10000"/>
                  </a:srgbClr>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2BCB050E-DE87-46D1-9177-AA7EC162767D}"/>
                </a:ext>
              </a:extLst>
            </p:cNvPr>
            <p:cNvPicPr>
              <a:picLocks noChangeAspect="1"/>
            </p:cNvPicPr>
            <p:nvPr/>
          </p:nvPicPr>
          <p:blipFill rotWithShape="1">
            <a:blip r:embed="rId5"/>
            <a:srcRect b="12629"/>
            <a:stretch/>
          </p:blipFill>
          <p:spPr>
            <a:xfrm>
              <a:off x="3730294" y="4654579"/>
              <a:ext cx="4977813" cy="1661215"/>
            </a:xfrm>
            <a:prstGeom prst="rect">
              <a:avLst/>
            </a:prstGeom>
          </p:spPr>
        </p:pic>
      </p:grpSp>
    </p:spTree>
    <p:custDataLst>
      <p:tags r:id="rId1"/>
    </p:custDataLst>
    <p:extLst>
      <p:ext uri="{BB962C8B-B14F-4D97-AF65-F5344CB8AC3E}">
        <p14:creationId xmlns:p14="http://schemas.microsoft.com/office/powerpoint/2010/main" val="855620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85B17C85-56ED-4CDA-BBC0-FD62BF55A551}"/>
              </a:ext>
            </a:extLst>
          </p:cNvPr>
          <p:cNvSpPr txBox="1">
            <a:spLocks/>
          </p:cNvSpPr>
          <p:nvPr/>
        </p:nvSpPr>
        <p:spPr>
          <a:xfrm>
            <a:off x="455710" y="4397165"/>
            <a:ext cx="8048430" cy="1302857"/>
          </a:xfrm>
          <a:prstGeom prst="rect">
            <a:avLst/>
          </a:prstGeom>
        </p:spPr>
        <p:txBody>
          <a:bodyPr vert="horz" wrap="square" lIns="0" tIns="0" rIns="0" bIns="0" rtlCol="0" anchor="ctr">
            <a:spAutoFit/>
          </a:bodyPr>
          <a:lstStyle>
            <a:lvl1pPr algn="l" defTabSz="672067" rtl="0" eaLnBrk="1" latinLnBrk="0" hangingPunct="1">
              <a:lnSpc>
                <a:spcPct val="90000"/>
              </a:lnSpc>
              <a:spcBef>
                <a:spcPct val="0"/>
              </a:spcBef>
              <a:buNone/>
              <a:defRPr sz="264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marL="0" marR="0" lvl="0" indent="0" algn="ctr" defTabSz="672067" rtl="0" eaLnBrk="1" fontAlgn="auto" latinLnBrk="0" hangingPunct="1">
              <a:lnSpc>
                <a:spcPct val="90000"/>
              </a:lnSpc>
              <a:spcBef>
                <a:spcPct val="0"/>
              </a:spcBef>
              <a:spcAft>
                <a:spcPts val="0"/>
              </a:spcAft>
              <a:buClrTx/>
              <a:buSzTx/>
              <a:buFontTx/>
              <a:buNone/>
              <a:tabLst/>
              <a:defRPr/>
            </a:pPr>
            <a:r>
              <a:rPr kumimoji="0" lang="fr-FR" sz="3136"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to use the scorecard for action</a:t>
            </a: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endParaRPr kumimoji="0" lang="en-US"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8" name="Picture 7">
            <a:extLst>
              <a:ext uri="{FF2B5EF4-FFF2-40B4-BE49-F238E27FC236}">
                <a16:creationId xmlns:a16="http://schemas.microsoft.com/office/drawing/2014/main" id="{393BBE19-56A8-4EBD-B210-04B0887D6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234" y="1775996"/>
            <a:ext cx="7352982" cy="1737142"/>
          </a:xfrm>
          <a:prstGeom prst="rect">
            <a:avLst/>
          </a:prstGeom>
        </p:spPr>
      </p:pic>
    </p:spTree>
    <p:extLst>
      <p:ext uri="{BB962C8B-B14F-4D97-AF65-F5344CB8AC3E}">
        <p14:creationId xmlns:p14="http://schemas.microsoft.com/office/powerpoint/2010/main" val="33012696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How to use scorecard data for action">
            <a:hlinkClick r:id="" action="ppaction://media"/>
            <a:extLst>
              <a:ext uri="{FF2B5EF4-FFF2-40B4-BE49-F238E27FC236}">
                <a16:creationId xmlns:a16="http://schemas.microsoft.com/office/drawing/2014/main" id="{99081527-2450-45ED-87F8-77060F1D0BBD}"/>
              </a:ext>
            </a:extLst>
          </p:cNvPr>
          <p:cNvPicPr>
            <a:picLocks noRot="1" noChangeAspect="1"/>
          </p:cNvPicPr>
          <p:nvPr>
            <a:videoFile r:link="rId1"/>
          </p:nvPr>
        </p:nvPicPr>
        <p:blipFill>
          <a:blip r:embed="rId3"/>
          <a:stretch>
            <a:fillRect/>
          </a:stretch>
        </p:blipFill>
        <p:spPr>
          <a:xfrm>
            <a:off x="372233" y="203248"/>
            <a:ext cx="8034814" cy="6026111"/>
          </a:xfrm>
          <a:prstGeom prst="rect">
            <a:avLst/>
          </a:prstGeom>
        </p:spPr>
      </p:pic>
      <p:sp>
        <p:nvSpPr>
          <p:cNvPr id="4" name="TextBox 3">
            <a:extLst>
              <a:ext uri="{FF2B5EF4-FFF2-40B4-BE49-F238E27FC236}">
                <a16:creationId xmlns:a16="http://schemas.microsoft.com/office/drawing/2014/main" id="{0FF33A76-2852-4286-8FD1-76D1740B98E3}"/>
              </a:ext>
            </a:extLst>
          </p:cNvPr>
          <p:cNvSpPr txBox="1"/>
          <p:nvPr/>
        </p:nvSpPr>
        <p:spPr>
          <a:xfrm>
            <a:off x="1778" y="6379530"/>
            <a:ext cx="7281054" cy="338554"/>
          </a:xfrm>
          <a:prstGeom prst="rect">
            <a:avLst/>
          </a:prstGeom>
          <a:noFill/>
        </p:spPr>
        <p:txBody>
          <a:bodyPr wrap="square">
            <a:spAutoFit/>
          </a:bodyPr>
          <a:lstStyle/>
          <a:p>
            <a:r>
              <a:rPr lang="en-US" sz="1600"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Download video: How to use scorecard data for action Video </a:t>
            </a:r>
            <a:endParaRPr lang="en-US" dirty="0"/>
          </a:p>
        </p:txBody>
      </p:sp>
    </p:spTree>
    <p:extLst>
      <p:ext uri="{BB962C8B-B14F-4D97-AF65-F5344CB8AC3E}">
        <p14:creationId xmlns:p14="http://schemas.microsoft.com/office/powerpoint/2010/main" val="3280415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794C9-B84C-4AEF-B64E-2C77D3D221DC}"/>
              </a:ext>
            </a:extLst>
          </p:cNvPr>
          <p:cNvSpPr>
            <a:spLocks noGrp="1"/>
          </p:cNvSpPr>
          <p:nvPr>
            <p:ph type="title"/>
          </p:nvPr>
        </p:nvSpPr>
        <p:spPr/>
        <p:txBody>
          <a:bodyPr/>
          <a:lstStyle/>
          <a:p>
            <a:r>
              <a:rPr lang="en-US" dirty="0"/>
              <a:t>Context</a:t>
            </a:r>
          </a:p>
        </p:txBody>
      </p:sp>
      <p:sp>
        <p:nvSpPr>
          <p:cNvPr id="3" name="Text Placeholder 2">
            <a:extLst>
              <a:ext uri="{FF2B5EF4-FFF2-40B4-BE49-F238E27FC236}">
                <a16:creationId xmlns:a16="http://schemas.microsoft.com/office/drawing/2014/main" id="{4B99AEF4-C274-4D62-9F5E-64629470675B}"/>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FEA796EF-D371-4C6E-8166-F1F15A00D2AF}"/>
              </a:ext>
            </a:extLst>
          </p:cNvPr>
          <p:cNvSpPr>
            <a:spLocks noGrp="1"/>
          </p:cNvSpPr>
          <p:nvPr>
            <p:ph type="body" sz="quarter" idx="10"/>
          </p:nvPr>
        </p:nvSpPr>
        <p:spPr>
          <a:xfrm>
            <a:off x="448072" y="963330"/>
            <a:ext cx="7865400" cy="2397407"/>
          </a:xfrm>
        </p:spPr>
        <p:txBody>
          <a:bodyPr/>
          <a:lstStyle/>
          <a:p>
            <a:r>
              <a:rPr lang="en-US" dirty="0"/>
              <a:t>The main objective of scorecards is to use the data to inform actions. </a:t>
            </a:r>
          </a:p>
          <a:p>
            <a:endParaRPr lang="en-US" dirty="0"/>
          </a:p>
          <a:p>
            <a:r>
              <a:rPr lang="en-US" dirty="0"/>
              <a:t>After identifying a problem, it is important to understand the root cause of the bottleneck.</a:t>
            </a:r>
          </a:p>
          <a:p>
            <a:endParaRPr lang="en-US" dirty="0"/>
          </a:p>
          <a:p>
            <a:r>
              <a:rPr lang="en-US" dirty="0"/>
              <a:t>Create SMART actions that directly address the root cause of the problem.</a:t>
            </a:r>
          </a:p>
        </p:txBody>
      </p:sp>
      <p:pic>
        <p:nvPicPr>
          <p:cNvPr id="6" name="Picture 5">
            <a:extLst>
              <a:ext uri="{FF2B5EF4-FFF2-40B4-BE49-F238E27FC236}">
                <a16:creationId xmlns:a16="http://schemas.microsoft.com/office/drawing/2014/main" id="{57D02C0E-AA8F-4D46-8B74-0A1731524E35}"/>
              </a:ext>
            </a:extLst>
          </p:cNvPr>
          <p:cNvPicPr>
            <a:picLocks noChangeAspect="1"/>
          </p:cNvPicPr>
          <p:nvPr/>
        </p:nvPicPr>
        <p:blipFill rotWithShape="1">
          <a:blip r:embed="rId2"/>
          <a:srcRect t="1536" r="323"/>
          <a:stretch/>
        </p:blipFill>
        <p:spPr>
          <a:xfrm>
            <a:off x="341389" y="3596965"/>
            <a:ext cx="3761365" cy="2235239"/>
          </a:xfrm>
          <a:prstGeom prst="rect">
            <a:avLst/>
          </a:prstGeom>
        </p:spPr>
      </p:pic>
      <p:sp>
        <p:nvSpPr>
          <p:cNvPr id="7" name="Arrow: Right 6">
            <a:extLst>
              <a:ext uri="{FF2B5EF4-FFF2-40B4-BE49-F238E27FC236}">
                <a16:creationId xmlns:a16="http://schemas.microsoft.com/office/drawing/2014/main" id="{22F6B6E2-6727-4927-A805-79DA031CCE96}"/>
              </a:ext>
            </a:extLst>
          </p:cNvPr>
          <p:cNvSpPr/>
          <p:nvPr/>
        </p:nvSpPr>
        <p:spPr>
          <a:xfrm>
            <a:off x="4236870" y="4136301"/>
            <a:ext cx="871760" cy="1121704"/>
          </a:xfrm>
          <a:prstGeom prst="rightArrow">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8" name="Picture 336" descr="https://c1.staticflickr.com/9/8448/7789103268_c5034c2d9e_b.jpg">
            <a:extLst>
              <a:ext uri="{FF2B5EF4-FFF2-40B4-BE49-F238E27FC236}">
                <a16:creationId xmlns:a16="http://schemas.microsoft.com/office/drawing/2014/main" id="{57CEFC8F-615F-4EEF-B76D-2B8D2FEA07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3049" y="3605395"/>
            <a:ext cx="3247001" cy="221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149012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312" y="218023"/>
            <a:ext cx="8500929" cy="58467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After identifying the problems, investigate deeper to gain an understanding of the situation</a:t>
            </a:r>
          </a:p>
        </p:txBody>
      </p:sp>
      <p:sp>
        <p:nvSpPr>
          <p:cNvPr id="8" name="TextBox 9"/>
          <p:cNvSpPr txBox="1"/>
          <p:nvPr>
            <p:custDataLst>
              <p:tags r:id="rId1"/>
            </p:custDataLst>
          </p:nvPr>
        </p:nvSpPr>
        <p:spPr>
          <a:xfrm>
            <a:off x="357312" y="1097950"/>
            <a:ext cx="8263454" cy="5102156"/>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5960" tIns="75960" rIns="75960" bIns="75960" rtlCol="0" anchor="t"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black"/>
                </a:solidFill>
                <a:latin typeface="Arial"/>
              </a:rPr>
              <a:t>Questions to consider</a:t>
            </a:r>
          </a:p>
        </p:txBody>
      </p:sp>
      <p:sp>
        <p:nvSpPr>
          <p:cNvPr id="12" name="TextBox 9"/>
          <p:cNvSpPr txBox="1"/>
          <p:nvPr>
            <p:custDataLst>
              <p:tags r:id="rId2"/>
            </p:custDataLst>
          </p:nvPr>
        </p:nvSpPr>
        <p:spPr>
          <a:xfrm>
            <a:off x="357312" y="1001305"/>
            <a:ext cx="8263454" cy="459738"/>
          </a:xfrm>
          <a:prstGeom prst="rect">
            <a:avLst/>
          </a:prstGeom>
          <a:solidFill>
            <a:schemeClr val="accent1"/>
          </a:solidFill>
          <a:ln w="19050">
            <a:solidFill>
              <a:schemeClr val="accent1"/>
            </a:solidFill>
          </a:ln>
        </p:spPr>
        <p:txBody>
          <a:bodyPr vert="horz" lIns="75960" tIns="75960" rIns="75960" bIns="75960" rtlCol="0" anchor="t"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a:solidFill>
                  <a:prstClr val="black"/>
                </a:solidFill>
                <a:latin typeface="Arial"/>
              </a:rPr>
              <a:t>Questions to consider</a:t>
            </a:r>
            <a:endParaRPr lang="en-US" sz="1568" dirty="0">
              <a:solidFill>
                <a:prstClr val="black"/>
              </a:solidFill>
              <a:latin typeface="Arial"/>
            </a:endParaRPr>
          </a:p>
        </p:txBody>
      </p:sp>
      <p:sp>
        <p:nvSpPr>
          <p:cNvPr id="15" name="Rectangle 13"/>
          <p:cNvSpPr txBox="1"/>
          <p:nvPr/>
        </p:nvSpPr>
        <p:spPr>
          <a:xfrm>
            <a:off x="2646200" y="2549789"/>
            <a:ext cx="5380895" cy="338433"/>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at are the root causes of the poor performance?</a:t>
            </a:r>
          </a:p>
        </p:txBody>
      </p:sp>
      <p:sp>
        <p:nvSpPr>
          <p:cNvPr id="16" name="Rectangle 13"/>
          <p:cNvSpPr txBox="1"/>
          <p:nvPr/>
        </p:nvSpPr>
        <p:spPr>
          <a:xfrm>
            <a:off x="2646195" y="3019699"/>
            <a:ext cx="5677726" cy="574931"/>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Are there any causes that are specific to this geographic location that is contributing to the underperformance?</a:t>
            </a:r>
          </a:p>
        </p:txBody>
      </p:sp>
      <p:sp>
        <p:nvSpPr>
          <p:cNvPr id="17" name="Rectangle 13"/>
          <p:cNvSpPr txBox="1"/>
          <p:nvPr/>
        </p:nvSpPr>
        <p:spPr>
          <a:xfrm>
            <a:off x="2646195" y="3586244"/>
            <a:ext cx="5380895" cy="338510"/>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ich causes can be managed or controlled?</a:t>
            </a:r>
          </a:p>
        </p:txBody>
      </p:sp>
      <p:sp>
        <p:nvSpPr>
          <p:cNvPr id="21" name="TextBox 22"/>
          <p:cNvSpPr txBox="1"/>
          <p:nvPr>
            <p:custDataLst>
              <p:tags r:id="rId3"/>
            </p:custDataLst>
          </p:nvPr>
        </p:nvSpPr>
        <p:spPr>
          <a:xfrm>
            <a:off x="449652" y="2584587"/>
            <a:ext cx="1949535" cy="1418581"/>
          </a:xfrm>
          <a:prstGeom prst="rect">
            <a:avLst/>
          </a:prstGeom>
          <a:solidFill>
            <a:schemeClr val="tx2"/>
          </a:solidFill>
          <a:ln>
            <a:noFill/>
          </a:ln>
          <a:effectLst>
            <a:outerShdw blurRad="50800" dist="38100" dir="5400000" algn="t" rotWithShape="0">
              <a:prstClr val="black">
                <a:alpha val="40000"/>
              </a:prstClr>
            </a:outerShdw>
          </a:effectLst>
        </p:spPr>
        <p:txBody>
          <a:bodyPr vert="horz" lIns="76188" tIns="76188" rIns="76188" bIns="76188"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white"/>
                </a:solidFill>
                <a:latin typeface="Arial"/>
              </a:rPr>
              <a:t>2. What are the root causes?</a:t>
            </a:r>
          </a:p>
        </p:txBody>
      </p:sp>
      <p:sp>
        <p:nvSpPr>
          <p:cNvPr id="26" name="Rectangle 13"/>
          <p:cNvSpPr txBox="1"/>
          <p:nvPr/>
        </p:nvSpPr>
        <p:spPr>
          <a:xfrm>
            <a:off x="2619023" y="4287167"/>
            <a:ext cx="5380895" cy="338510"/>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at interventions are in place or have been tried?</a:t>
            </a:r>
          </a:p>
        </p:txBody>
      </p:sp>
      <p:sp>
        <p:nvSpPr>
          <p:cNvPr id="27" name="Rectangle 13"/>
          <p:cNvSpPr txBox="1"/>
          <p:nvPr/>
        </p:nvSpPr>
        <p:spPr>
          <a:xfrm>
            <a:off x="2646195" y="4646548"/>
            <a:ext cx="5380895" cy="1298847"/>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at interventions have been successful? Which have been unsuccessful?</a:t>
            </a:r>
          </a:p>
          <a:p>
            <a:pPr marL="281623" lvl="1" indent="-280035" defTabSz="895255">
              <a:buClr>
                <a:srgbClr val="002960"/>
              </a:buClr>
              <a:buFont typeface="Arial" panose="020B0604020202020204" pitchFamily="34" charset="0"/>
              <a:buChar char="•"/>
            </a:pPr>
            <a:r>
              <a:rPr lang="en-US" sz="1568" dirty="0"/>
              <a:t>Are there lessons learned from neighbors that can be adopted or scaled up?</a:t>
            </a:r>
          </a:p>
          <a:p>
            <a:pPr marL="281623" lvl="1" indent="-280035" defTabSz="895255">
              <a:buClr>
                <a:srgbClr val="002960"/>
              </a:buClr>
              <a:buFont typeface="Arial" panose="020B0604020202020204" pitchFamily="34" charset="0"/>
              <a:buChar char="•"/>
            </a:pPr>
            <a:endParaRPr lang="en-US" sz="1568" dirty="0">
              <a:solidFill>
                <a:prstClr val="black"/>
              </a:solidFill>
              <a:latin typeface="Arial"/>
            </a:endParaRPr>
          </a:p>
        </p:txBody>
      </p:sp>
      <p:sp>
        <p:nvSpPr>
          <p:cNvPr id="28" name="TextBox 22"/>
          <p:cNvSpPr txBox="1"/>
          <p:nvPr>
            <p:custDataLst>
              <p:tags r:id="rId4"/>
            </p:custDataLst>
          </p:nvPr>
        </p:nvSpPr>
        <p:spPr>
          <a:xfrm>
            <a:off x="449652" y="4099812"/>
            <a:ext cx="1949535" cy="1929725"/>
          </a:xfrm>
          <a:prstGeom prst="rect">
            <a:avLst/>
          </a:prstGeom>
          <a:solidFill>
            <a:schemeClr val="tx2"/>
          </a:solidFill>
          <a:ln>
            <a:noFill/>
          </a:ln>
          <a:effectLst>
            <a:outerShdw blurRad="50800" dist="38100" dir="5400000" algn="t" rotWithShape="0">
              <a:prstClr val="black">
                <a:alpha val="40000"/>
              </a:prstClr>
            </a:outerShdw>
          </a:effectLst>
        </p:spPr>
        <p:txBody>
          <a:bodyPr vert="horz" lIns="76188" tIns="76188" rIns="76188" bIns="76188"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white"/>
                </a:solidFill>
                <a:latin typeface="Arial"/>
              </a:rPr>
              <a:t>3. What interventions exist?</a:t>
            </a:r>
          </a:p>
        </p:txBody>
      </p:sp>
      <p:sp>
        <p:nvSpPr>
          <p:cNvPr id="19" name="Rectangle 13"/>
          <p:cNvSpPr txBox="1"/>
          <p:nvPr/>
        </p:nvSpPr>
        <p:spPr>
          <a:xfrm>
            <a:off x="2646226" y="1897410"/>
            <a:ext cx="5380895" cy="584702"/>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Is this an anomaly? Or is performance likely to remain the same or even worsen?</a:t>
            </a:r>
          </a:p>
        </p:txBody>
      </p:sp>
      <p:sp>
        <p:nvSpPr>
          <p:cNvPr id="29" name="TextBox 22"/>
          <p:cNvSpPr txBox="1"/>
          <p:nvPr>
            <p:custDataLst>
              <p:tags r:id="rId5"/>
            </p:custDataLst>
          </p:nvPr>
        </p:nvSpPr>
        <p:spPr>
          <a:xfrm>
            <a:off x="449678" y="1897411"/>
            <a:ext cx="1949536" cy="584670"/>
          </a:xfrm>
          <a:prstGeom prst="rect">
            <a:avLst/>
          </a:prstGeom>
          <a:solidFill>
            <a:schemeClr val="tx2"/>
          </a:solidFill>
          <a:ln>
            <a:noFill/>
          </a:ln>
          <a:effectLst>
            <a:outerShdw blurRad="50800" dist="38100" dir="5400000" algn="t" rotWithShape="0">
              <a:prstClr val="black">
                <a:alpha val="40000"/>
              </a:prstClr>
            </a:outerShdw>
          </a:effectLst>
        </p:spPr>
        <p:txBody>
          <a:bodyPr vert="horz" lIns="76188" tIns="76188" rIns="76188" bIns="76188"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white"/>
                </a:solidFill>
                <a:latin typeface="Arial"/>
              </a:rPr>
              <a:t>1. Does this need a solution?</a:t>
            </a:r>
          </a:p>
        </p:txBody>
      </p:sp>
      <p:sp>
        <p:nvSpPr>
          <p:cNvPr id="33" name="Rectangle 33"/>
          <p:cNvSpPr txBox="1"/>
          <p:nvPr/>
        </p:nvSpPr>
        <p:spPr>
          <a:xfrm>
            <a:off x="2646195" y="1502490"/>
            <a:ext cx="2909163" cy="338236"/>
          </a:xfrm>
          <a:prstGeom prst="rect">
            <a:avLst/>
          </a:prstGeom>
        </p:spPr>
        <p:txBody>
          <a:bodyPr vert="horz" lIns="91150" tIns="45577" rIns="91150" bIns="45577" rtlCol="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a:solidFill>
                  <a:prstClr val="black"/>
                </a:solidFill>
                <a:latin typeface="Arial"/>
              </a:rPr>
              <a:t>Example questions</a:t>
            </a:r>
            <a:endParaRPr lang="en-US" sz="1568" dirty="0">
              <a:solidFill>
                <a:prstClr val="black"/>
              </a:solidFill>
              <a:latin typeface="Arial"/>
            </a:endParaRPr>
          </a:p>
        </p:txBody>
      </p:sp>
      <p:cxnSp>
        <p:nvCxnSpPr>
          <p:cNvPr id="37" name="Straight Connector 36"/>
          <p:cNvCxnSpPr/>
          <p:nvPr/>
        </p:nvCxnSpPr>
        <p:spPr>
          <a:xfrm>
            <a:off x="2646198" y="1840981"/>
            <a:ext cx="56777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646198" y="2533320"/>
            <a:ext cx="567772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646195" y="4045919"/>
            <a:ext cx="567772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Rectangle 13">
            <a:extLst>
              <a:ext uri="{FF2B5EF4-FFF2-40B4-BE49-F238E27FC236}">
                <a16:creationId xmlns:a16="http://schemas.microsoft.com/office/drawing/2014/main" id="{45FAF697-D4B6-49FA-B911-42197B28D3D1}"/>
              </a:ext>
            </a:extLst>
          </p:cNvPr>
          <p:cNvSpPr txBox="1"/>
          <p:nvPr/>
        </p:nvSpPr>
        <p:spPr>
          <a:xfrm>
            <a:off x="2592267" y="5690996"/>
            <a:ext cx="5380895" cy="333625"/>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Can the community play a role in solving the issue?</a:t>
            </a:r>
          </a:p>
        </p:txBody>
      </p:sp>
    </p:spTree>
    <p:extLst>
      <p:ext uri="{BB962C8B-B14F-4D97-AF65-F5344CB8AC3E}">
        <p14:creationId xmlns:p14="http://schemas.microsoft.com/office/powerpoint/2010/main" val="8783372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a:t>Actions usually fall into these categories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How to create smart actions</a:t>
            </a:r>
          </a:p>
        </p:txBody>
      </p:sp>
      <p:graphicFrame>
        <p:nvGraphicFramePr>
          <p:cNvPr id="7" name="Table 6">
            <a:extLst>
              <a:ext uri="{FF2B5EF4-FFF2-40B4-BE49-F238E27FC236}">
                <a16:creationId xmlns:a16="http://schemas.microsoft.com/office/drawing/2014/main" id="{AD3EDA6B-8165-BE42-BCC9-FF75599AD60B}"/>
              </a:ext>
            </a:extLst>
          </p:cNvPr>
          <p:cNvGraphicFramePr>
            <a:graphicFrameLocks noGrp="1"/>
          </p:cNvGraphicFramePr>
          <p:nvPr/>
        </p:nvGraphicFramePr>
        <p:xfrm>
          <a:off x="448072" y="1356293"/>
          <a:ext cx="8238412" cy="5101138"/>
        </p:xfrm>
        <a:graphic>
          <a:graphicData uri="http://schemas.openxmlformats.org/drawingml/2006/table">
            <a:tbl>
              <a:tblPr firstRow="1" bandRow="1">
                <a:tableStyleId>{D27102A9-8310-4765-A935-A1911B00CA55}</a:tableStyleId>
              </a:tblPr>
              <a:tblGrid>
                <a:gridCol w="2517293">
                  <a:extLst>
                    <a:ext uri="{9D8B030D-6E8A-4147-A177-3AD203B41FA5}">
                      <a16:colId xmlns:a16="http://schemas.microsoft.com/office/drawing/2014/main" val="1626781027"/>
                    </a:ext>
                  </a:extLst>
                </a:gridCol>
                <a:gridCol w="5721119">
                  <a:extLst>
                    <a:ext uri="{9D8B030D-6E8A-4147-A177-3AD203B41FA5}">
                      <a16:colId xmlns:a16="http://schemas.microsoft.com/office/drawing/2014/main" val="3864351043"/>
                    </a:ext>
                  </a:extLst>
                </a:gridCol>
              </a:tblGrid>
              <a:tr h="328645">
                <a:tc>
                  <a:txBody>
                    <a:bodyPr/>
                    <a:lstStyle/>
                    <a:p>
                      <a:r>
                        <a:rPr lang="en-US" sz="1300" dirty="0"/>
                        <a:t>Action category</a:t>
                      </a:r>
                      <a:endParaRPr lang="en-US" sz="1300"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Description</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458275634"/>
                  </a:ext>
                </a:extLst>
              </a:tr>
              <a:tr h="530277">
                <a:tc>
                  <a:txBody>
                    <a:bodyPr/>
                    <a:lstStyle/>
                    <a:p>
                      <a:r>
                        <a:rPr lang="en-US" sz="1300" b="1" dirty="0"/>
                        <a:t>Investigate the root causes</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If the problem is unknown, investigate the root cause of the problem to better understand what actions to take</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929324074"/>
                  </a:ext>
                </a:extLst>
              </a:tr>
              <a:tr h="530277">
                <a:tc>
                  <a:txBody>
                    <a:bodyPr/>
                    <a:lstStyle/>
                    <a:p>
                      <a:r>
                        <a:rPr lang="en-US" sz="1300" b="1" dirty="0"/>
                        <a:t>Advocacy for high level policy and strategy change</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Changes to national and local policy or strategy to enable more effective implementation and adoption of initiatives</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3763787484"/>
                  </a:ext>
                </a:extLst>
              </a:tr>
              <a:tr h="530277">
                <a:tc>
                  <a:txBody>
                    <a:bodyPr/>
                    <a:lstStyle/>
                    <a:p>
                      <a:r>
                        <a:rPr lang="en-US" sz="1300" b="1" dirty="0"/>
                        <a:t>Petition support from partners</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Petition support from development partners to implement activities that address underperformance</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433188325"/>
                  </a:ext>
                </a:extLst>
              </a:tr>
              <a:tr h="530277">
                <a:tc>
                  <a:txBody>
                    <a:bodyPr/>
                    <a:lstStyle/>
                    <a:p>
                      <a:r>
                        <a:rPr lang="en-US" sz="1300" b="1" dirty="0"/>
                        <a:t>Manage procurement and supply chain issues</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Changes to procurement &amp; supply management of commodities to avoid disruptions, delays, unfulfilled demand, and poor quality</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1171457197"/>
                  </a:ext>
                </a:extLst>
              </a:tr>
              <a:tr h="530277">
                <a:tc>
                  <a:txBody>
                    <a:bodyPr/>
                    <a:lstStyle/>
                    <a:p>
                      <a:r>
                        <a:rPr lang="en-US" sz="1300" b="1" dirty="0"/>
                        <a:t>Build capacity</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Training of personnel and upgrading of infrastructure to maximize effectiveness of resource </a:t>
                      </a:r>
                      <a:r>
                        <a:rPr lang="en-US" sz="1300" dirty="0" err="1"/>
                        <a:t>utilisation</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4267196958"/>
                  </a:ext>
                </a:extLst>
              </a:tr>
              <a:tr h="530277">
                <a:tc>
                  <a:txBody>
                    <a:bodyPr/>
                    <a:lstStyle/>
                    <a:p>
                      <a:r>
                        <a:rPr lang="en-US" sz="1300" b="1" dirty="0"/>
                        <a:t>Address funding</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Identification, securing, and disbursement of funding for products, initiatives, and infrastructure and technology upgrades</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607710343"/>
                  </a:ext>
                </a:extLst>
              </a:tr>
              <a:tr h="530277">
                <a:tc>
                  <a:txBody>
                    <a:bodyPr/>
                    <a:lstStyle/>
                    <a:p>
                      <a:r>
                        <a:rPr lang="en-US" sz="1300" b="1" dirty="0"/>
                        <a:t>Improve quality and utilization of data</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Improvements in data quality &amp; systems used for monitoring and evaluating that data to track current status and progress</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2758762632"/>
                  </a:ext>
                </a:extLst>
              </a:tr>
              <a:tr h="530277">
                <a:tc>
                  <a:txBody>
                    <a:bodyPr/>
                    <a:lstStyle/>
                    <a:p>
                      <a:r>
                        <a:rPr lang="en-US" sz="1300" b="1" dirty="0" err="1"/>
                        <a:t>Catalyse</a:t>
                      </a:r>
                      <a:r>
                        <a:rPr lang="en-US" sz="1300" b="1" dirty="0"/>
                        <a:t> community engagement</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Working with the community to identify bottlenecks, and deploy necessary interventions</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1676773091"/>
                  </a:ext>
                </a:extLst>
              </a:tr>
              <a:tr h="530277">
                <a:tc>
                  <a:txBody>
                    <a:bodyPr/>
                    <a:lstStyle/>
                    <a:p>
                      <a:r>
                        <a:rPr lang="en-US" sz="1300" b="1" dirty="0"/>
                        <a:t>Adopt behavioral change communications</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rPr>
                        <a:t>Communications on key messages to the general public to drive adoption of best practices in disease prevention and treatment</a:t>
                      </a:r>
                      <a:endParaRPr lang="en-US" sz="1300" kern="1200" dirty="0">
                        <a:solidFill>
                          <a:schemeClr val="tx1"/>
                        </a:solidFill>
                        <a:latin typeface="Arial" panose="020B0604020202020204" pitchFamily="34" charset="0"/>
                        <a:ea typeface="+mn-ea"/>
                        <a:cs typeface="Arial" panose="020B0604020202020204" pitchFamily="34" charset="0"/>
                      </a:endParaRPr>
                    </a:p>
                  </a:txBody>
                  <a:tcPr marL="89614" marR="89614" marT="63506" marB="63506"/>
                </a:tc>
                <a:extLst>
                  <a:ext uri="{0D108BD9-81ED-4DB2-BD59-A6C34878D82A}">
                    <a16:rowId xmlns:a16="http://schemas.microsoft.com/office/drawing/2014/main" val="1915796640"/>
                  </a:ext>
                </a:extLst>
              </a:tr>
            </a:tbl>
          </a:graphicData>
        </a:graphic>
      </p:graphicFrame>
    </p:spTree>
    <p:extLst>
      <p:ext uri="{BB962C8B-B14F-4D97-AF65-F5344CB8AC3E}">
        <p14:creationId xmlns:p14="http://schemas.microsoft.com/office/powerpoint/2010/main" val="41503664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a:t>The SMART framework can help generate smart action description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85783" rtl="0" eaLnBrk="1" fontAlgn="base" latinLnBrk="0" hangingPunct="1">
              <a:lnSpc>
                <a:spcPct val="90000"/>
              </a:lnSpc>
              <a:spcBef>
                <a:spcPct val="0"/>
              </a:spcBef>
              <a:spcAft>
                <a:spcPct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How to create smart actions</a:t>
            </a:r>
          </a:p>
        </p:txBody>
      </p:sp>
      <p:grpSp>
        <p:nvGrpSpPr>
          <p:cNvPr id="6" name="Group 10">
            <a:extLst>
              <a:ext uri="{FF2B5EF4-FFF2-40B4-BE49-F238E27FC236}">
                <a16:creationId xmlns:a16="http://schemas.microsoft.com/office/drawing/2014/main" id="{A0D24122-AC54-0D40-B4F5-1FF14AC4A3F5}"/>
              </a:ext>
            </a:extLst>
          </p:cNvPr>
          <p:cNvGrpSpPr>
            <a:grpSpLocks/>
          </p:cNvGrpSpPr>
          <p:nvPr>
            <p:custDataLst>
              <p:tags r:id="rId1"/>
            </p:custDataLst>
          </p:nvPr>
        </p:nvGrpSpPr>
        <p:grpSpPr bwMode="auto">
          <a:xfrm>
            <a:off x="560868" y="5401797"/>
            <a:ext cx="1411116" cy="572536"/>
            <a:chOff x="352" y="3175"/>
            <a:chExt cx="737" cy="335"/>
          </a:xfrm>
          <a:solidFill>
            <a:schemeClr val="accent3"/>
          </a:solidFill>
          <a:effectLst/>
        </p:grpSpPr>
        <p:sp>
          <p:nvSpPr>
            <p:cNvPr id="7" name="Freeform 12">
              <a:extLst>
                <a:ext uri="{FF2B5EF4-FFF2-40B4-BE49-F238E27FC236}">
                  <a16:creationId xmlns:a16="http://schemas.microsoft.com/office/drawing/2014/main" id="{B826C004-2094-FC4D-895F-6682FB9EA190}"/>
                </a:ext>
              </a:extLst>
            </p:cNvPr>
            <p:cNvSpPr>
              <a:spLocks/>
            </p:cNvSpPr>
            <p:nvPr>
              <p:custDataLst>
                <p:tags r:id="rId19"/>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prstClr val="white"/>
                </a:solidFill>
                <a:effectLst/>
                <a:uLnTx/>
                <a:uFillTx/>
                <a:latin typeface="Arial" charset="0"/>
                <a:ea typeface="+mn-ea"/>
                <a:cs typeface="+mn-cs"/>
              </a:endParaRPr>
            </a:p>
          </p:txBody>
        </p:sp>
        <p:sp>
          <p:nvSpPr>
            <p:cNvPr id="8" name="Rectangle 13">
              <a:extLst>
                <a:ext uri="{FF2B5EF4-FFF2-40B4-BE49-F238E27FC236}">
                  <a16:creationId xmlns:a16="http://schemas.microsoft.com/office/drawing/2014/main" id="{0D078764-E70F-1248-A894-62E3DBBF6D80}"/>
                </a:ext>
              </a:extLst>
            </p:cNvPr>
            <p:cNvSpPr>
              <a:spLocks noChangeArrowheads="1"/>
            </p:cNvSpPr>
            <p:nvPr>
              <p:custDataLst>
                <p:tags r:id="rId20"/>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900" marR="0" lvl="0" indent="-342900" algn="l" defTabSz="895350" rtl="0" eaLnBrk="1" fontAlgn="base" latinLnBrk="0" hangingPunct="1">
                <a:lnSpc>
                  <a:spcPct val="100000"/>
                </a:lnSpc>
                <a:spcBef>
                  <a:spcPct val="0"/>
                </a:spcBef>
                <a:spcAft>
                  <a:spcPct val="0"/>
                </a:spcAft>
                <a:buClr>
                  <a:srgbClr val="352A49"/>
                </a:buClr>
                <a:buSzPct val="80000"/>
                <a:buFont typeface="Wingdings" pitchFamily="2" charset="2"/>
                <a:buNone/>
                <a:tabLst/>
                <a:defRPr/>
              </a:pPr>
              <a:r>
                <a:rPr kumimoji="0" lang="en-US" sz="1372" b="0" i="0" u="sng" strike="noStrike" kern="1200" cap="none" spc="0" normalizeH="0" baseline="0" noProof="0" dirty="0">
                  <a:ln>
                    <a:noFill/>
                  </a:ln>
                  <a:solidFill>
                    <a:prstClr val="white"/>
                  </a:solidFill>
                  <a:effectLst/>
                  <a:uLnTx/>
                  <a:uFillTx/>
                  <a:latin typeface="Arial" charset="0"/>
                  <a:ea typeface="+mn-ea"/>
                  <a:cs typeface="Arial" charset="0"/>
                </a:rPr>
                <a:t>T</a:t>
              </a:r>
              <a:r>
                <a:rPr kumimoji="0" lang="en-US" sz="1372" b="0" i="0" u="none" strike="noStrike" kern="1200" cap="none" spc="0" normalizeH="0" baseline="0" noProof="0" dirty="0">
                  <a:ln>
                    <a:noFill/>
                  </a:ln>
                  <a:solidFill>
                    <a:prstClr val="white"/>
                  </a:solidFill>
                  <a:effectLst/>
                  <a:uLnTx/>
                  <a:uFillTx/>
                  <a:latin typeface="Arial" charset="0"/>
                  <a:ea typeface="+mn-ea"/>
                  <a:cs typeface="Arial" charset="0"/>
                </a:rPr>
                <a:t>ime-bound</a:t>
              </a:r>
            </a:p>
          </p:txBody>
        </p:sp>
      </p:grpSp>
      <p:grpSp>
        <p:nvGrpSpPr>
          <p:cNvPr id="10" name="Group 13">
            <a:extLst>
              <a:ext uri="{FF2B5EF4-FFF2-40B4-BE49-F238E27FC236}">
                <a16:creationId xmlns:a16="http://schemas.microsoft.com/office/drawing/2014/main" id="{76E4BDC0-3933-8243-AF18-152D1BDF01CA}"/>
              </a:ext>
            </a:extLst>
          </p:cNvPr>
          <p:cNvGrpSpPr>
            <a:grpSpLocks/>
          </p:cNvGrpSpPr>
          <p:nvPr>
            <p:custDataLst>
              <p:tags r:id="rId2"/>
            </p:custDataLst>
          </p:nvPr>
        </p:nvGrpSpPr>
        <p:grpSpPr bwMode="auto">
          <a:xfrm>
            <a:off x="560868" y="2811888"/>
            <a:ext cx="1411116" cy="570981"/>
            <a:chOff x="352" y="1612"/>
            <a:chExt cx="737" cy="335"/>
          </a:xfrm>
          <a:solidFill>
            <a:schemeClr val="accent3"/>
          </a:solidFill>
          <a:effectLst>
            <a:outerShdw blurRad="50800" dist="38100" dir="2700000" algn="tl" rotWithShape="0">
              <a:prstClr val="black">
                <a:alpha val="40000"/>
              </a:prstClr>
            </a:outerShdw>
          </a:effectLst>
        </p:grpSpPr>
        <p:sp>
          <p:nvSpPr>
            <p:cNvPr id="11" name="Freeform 15">
              <a:extLst>
                <a:ext uri="{FF2B5EF4-FFF2-40B4-BE49-F238E27FC236}">
                  <a16:creationId xmlns:a16="http://schemas.microsoft.com/office/drawing/2014/main" id="{C4076960-1501-4A41-A978-BF089F46E4B0}"/>
                </a:ext>
              </a:extLst>
            </p:cNvPr>
            <p:cNvSpPr>
              <a:spLocks/>
            </p:cNvSpPr>
            <p:nvPr>
              <p:custDataLst>
                <p:tags r:id="rId17"/>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prstClr val="white"/>
                </a:solidFill>
                <a:effectLst/>
                <a:uLnTx/>
                <a:uFillTx/>
                <a:latin typeface="Arial" charset="0"/>
                <a:ea typeface="+mn-ea"/>
                <a:cs typeface="+mn-cs"/>
              </a:endParaRPr>
            </a:p>
          </p:txBody>
        </p:sp>
        <p:sp>
          <p:nvSpPr>
            <p:cNvPr id="12" name="Rectangle 16">
              <a:extLst>
                <a:ext uri="{FF2B5EF4-FFF2-40B4-BE49-F238E27FC236}">
                  <a16:creationId xmlns:a16="http://schemas.microsoft.com/office/drawing/2014/main" id="{DB217314-92A2-0C48-A2F9-CD68DD8EA679}"/>
                </a:ext>
              </a:extLst>
            </p:cNvPr>
            <p:cNvSpPr>
              <a:spLocks noChangeArrowheads="1"/>
            </p:cNvSpPr>
            <p:nvPr>
              <p:custDataLst>
                <p:tags r:id="rId18"/>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900" marR="0" lvl="0" indent="-342900" algn="l" defTabSz="895350" rtl="0" eaLnBrk="1" fontAlgn="base" latinLnBrk="0" hangingPunct="1">
                <a:lnSpc>
                  <a:spcPct val="100000"/>
                </a:lnSpc>
                <a:spcBef>
                  <a:spcPct val="0"/>
                </a:spcBef>
                <a:spcAft>
                  <a:spcPct val="0"/>
                </a:spcAft>
                <a:buClr>
                  <a:srgbClr val="352A49"/>
                </a:buClr>
                <a:buSzPct val="80000"/>
                <a:buFont typeface="Wingdings" pitchFamily="2" charset="2"/>
                <a:buNone/>
                <a:tabLst/>
                <a:defRPr/>
              </a:pPr>
              <a:r>
                <a:rPr kumimoji="0" lang="en-US" sz="1372" b="0" i="0" u="sng" strike="noStrike" kern="1200" cap="none" spc="0" normalizeH="0" baseline="0" noProof="0">
                  <a:ln>
                    <a:noFill/>
                  </a:ln>
                  <a:solidFill>
                    <a:prstClr val="white"/>
                  </a:solidFill>
                  <a:effectLst/>
                  <a:uLnTx/>
                  <a:uFillTx/>
                  <a:latin typeface="Arial" charset="0"/>
                  <a:ea typeface="+mn-ea"/>
                  <a:cs typeface="Arial" charset="0"/>
                </a:rPr>
                <a:t>M</a:t>
              </a:r>
              <a:r>
                <a:rPr kumimoji="0" lang="en-US" sz="1372" b="0" i="0" u="none" strike="noStrike" kern="1200" cap="none" spc="0" normalizeH="0" baseline="0" noProof="0">
                  <a:ln>
                    <a:noFill/>
                  </a:ln>
                  <a:solidFill>
                    <a:prstClr val="white"/>
                  </a:solidFill>
                  <a:effectLst/>
                  <a:uLnTx/>
                  <a:uFillTx/>
                  <a:latin typeface="Arial" charset="0"/>
                  <a:ea typeface="+mn-ea"/>
                  <a:cs typeface="Arial" charset="0"/>
                </a:rPr>
                <a:t>easurable</a:t>
              </a:r>
            </a:p>
          </p:txBody>
        </p:sp>
      </p:grpSp>
      <p:grpSp>
        <p:nvGrpSpPr>
          <p:cNvPr id="14" name="Group 16">
            <a:extLst>
              <a:ext uri="{FF2B5EF4-FFF2-40B4-BE49-F238E27FC236}">
                <a16:creationId xmlns:a16="http://schemas.microsoft.com/office/drawing/2014/main" id="{C91642F4-54E1-BA49-BDC8-9024CA7B6347}"/>
              </a:ext>
            </a:extLst>
          </p:cNvPr>
          <p:cNvGrpSpPr>
            <a:grpSpLocks/>
          </p:cNvGrpSpPr>
          <p:nvPr>
            <p:custDataLst>
              <p:tags r:id="rId3"/>
            </p:custDataLst>
          </p:nvPr>
        </p:nvGrpSpPr>
        <p:grpSpPr bwMode="auto">
          <a:xfrm>
            <a:off x="560868" y="3675192"/>
            <a:ext cx="1411116" cy="572536"/>
            <a:chOff x="352" y="2071"/>
            <a:chExt cx="737" cy="335"/>
          </a:xfrm>
          <a:solidFill>
            <a:schemeClr val="accent3"/>
          </a:solidFill>
          <a:effectLst>
            <a:outerShdw blurRad="50800" dist="38100" dir="2700000" algn="tl" rotWithShape="0">
              <a:prstClr val="black">
                <a:alpha val="40000"/>
              </a:prstClr>
            </a:outerShdw>
          </a:effectLst>
        </p:grpSpPr>
        <p:sp>
          <p:nvSpPr>
            <p:cNvPr id="17" name="Freeform 19">
              <a:extLst>
                <a:ext uri="{FF2B5EF4-FFF2-40B4-BE49-F238E27FC236}">
                  <a16:creationId xmlns:a16="http://schemas.microsoft.com/office/drawing/2014/main" id="{51B656AA-89BB-4541-A15B-AE650EB1F500}"/>
                </a:ext>
              </a:extLst>
            </p:cNvPr>
            <p:cNvSpPr>
              <a:spLocks/>
            </p:cNvSpPr>
            <p:nvPr>
              <p:custDataLst>
                <p:tags r:id="rId15"/>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prstClr val="white"/>
                </a:solidFill>
                <a:effectLst/>
                <a:uLnTx/>
                <a:uFillTx/>
                <a:latin typeface="Arial" charset="0"/>
                <a:ea typeface="+mn-ea"/>
                <a:cs typeface="+mn-cs"/>
              </a:endParaRPr>
            </a:p>
          </p:txBody>
        </p:sp>
        <p:sp>
          <p:nvSpPr>
            <p:cNvPr id="18" name="Rectangle 20">
              <a:extLst>
                <a:ext uri="{FF2B5EF4-FFF2-40B4-BE49-F238E27FC236}">
                  <a16:creationId xmlns:a16="http://schemas.microsoft.com/office/drawing/2014/main" id="{A46E5B95-396D-9246-87BC-611895217DAF}"/>
                </a:ext>
              </a:extLst>
            </p:cNvPr>
            <p:cNvSpPr>
              <a:spLocks noChangeArrowheads="1"/>
            </p:cNvSpPr>
            <p:nvPr>
              <p:custDataLst>
                <p:tags r:id="rId16"/>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
                  <a:srgbClr val="352A49"/>
                </a:buClr>
                <a:buSzPct val="80000"/>
                <a:buFontTx/>
                <a:buNone/>
                <a:tabLst/>
                <a:defRPr/>
              </a:pPr>
              <a:r>
                <a:rPr kumimoji="0" lang="en-US" sz="1372" b="0" i="0" u="sng" strike="noStrike" kern="1200" cap="none" spc="0" normalizeH="0" baseline="0" noProof="0" dirty="0">
                  <a:ln>
                    <a:noFill/>
                  </a:ln>
                  <a:solidFill>
                    <a:prstClr val="white"/>
                  </a:solidFill>
                  <a:effectLst/>
                  <a:uLnTx/>
                  <a:uFillTx/>
                  <a:latin typeface="Arial" charset="0"/>
                  <a:ea typeface="+mn-ea"/>
                  <a:cs typeface="Arial" charset="0"/>
                </a:rPr>
                <a:t>A</a:t>
              </a:r>
              <a:r>
                <a:rPr kumimoji="0" lang="en-US" sz="1372" b="0" i="0" u="none" strike="noStrike" kern="1200" cap="none" spc="0" normalizeH="0" baseline="0" noProof="0" dirty="0">
                  <a:ln>
                    <a:noFill/>
                  </a:ln>
                  <a:solidFill>
                    <a:prstClr val="white"/>
                  </a:solidFill>
                  <a:effectLst/>
                  <a:uLnTx/>
                  <a:uFillTx/>
                  <a:latin typeface="Arial" charset="0"/>
                  <a:ea typeface="+mn-ea"/>
                  <a:cs typeface="Arial" charset="0"/>
                </a:rPr>
                <a:t>chievable</a:t>
              </a:r>
            </a:p>
          </p:txBody>
        </p:sp>
      </p:grpSp>
      <p:grpSp>
        <p:nvGrpSpPr>
          <p:cNvPr id="20" name="Group 19">
            <a:extLst>
              <a:ext uri="{FF2B5EF4-FFF2-40B4-BE49-F238E27FC236}">
                <a16:creationId xmlns:a16="http://schemas.microsoft.com/office/drawing/2014/main" id="{6A9C5504-306B-E042-AAC7-5985CA20A3ED}"/>
              </a:ext>
            </a:extLst>
          </p:cNvPr>
          <p:cNvGrpSpPr>
            <a:grpSpLocks/>
          </p:cNvGrpSpPr>
          <p:nvPr>
            <p:custDataLst>
              <p:tags r:id="rId4"/>
            </p:custDataLst>
          </p:nvPr>
        </p:nvGrpSpPr>
        <p:grpSpPr bwMode="auto">
          <a:xfrm>
            <a:off x="560868" y="4538496"/>
            <a:ext cx="1411116" cy="572536"/>
            <a:chOff x="352" y="2702"/>
            <a:chExt cx="737" cy="335"/>
          </a:xfrm>
          <a:solidFill>
            <a:schemeClr val="accent3"/>
          </a:solidFill>
          <a:effectLst>
            <a:outerShdw blurRad="50800" dist="38100" dir="2700000" algn="tl" rotWithShape="0">
              <a:prstClr val="black">
                <a:alpha val="40000"/>
              </a:prstClr>
            </a:outerShdw>
          </a:effectLst>
        </p:grpSpPr>
        <p:sp>
          <p:nvSpPr>
            <p:cNvPr id="21" name="Freeform 23">
              <a:extLst>
                <a:ext uri="{FF2B5EF4-FFF2-40B4-BE49-F238E27FC236}">
                  <a16:creationId xmlns:a16="http://schemas.microsoft.com/office/drawing/2014/main" id="{5203CABD-6BC4-2C45-81C3-51C97EB08170}"/>
                </a:ext>
              </a:extLst>
            </p:cNvPr>
            <p:cNvSpPr>
              <a:spLocks/>
            </p:cNvSpPr>
            <p:nvPr>
              <p:custDataLst>
                <p:tags r:id="rId13"/>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prstClr val="white"/>
                </a:solidFill>
                <a:effectLst/>
                <a:uLnTx/>
                <a:uFillTx/>
                <a:latin typeface="Arial" charset="0"/>
                <a:ea typeface="+mn-ea"/>
                <a:cs typeface="+mn-cs"/>
              </a:endParaRPr>
            </a:p>
          </p:txBody>
        </p:sp>
        <p:sp>
          <p:nvSpPr>
            <p:cNvPr id="22" name="Rectangle 24">
              <a:extLst>
                <a:ext uri="{FF2B5EF4-FFF2-40B4-BE49-F238E27FC236}">
                  <a16:creationId xmlns:a16="http://schemas.microsoft.com/office/drawing/2014/main" id="{BB747CF6-4B14-8642-8351-598CC71F0A6E}"/>
                </a:ext>
              </a:extLst>
            </p:cNvPr>
            <p:cNvSpPr>
              <a:spLocks noChangeArrowheads="1"/>
            </p:cNvSpPr>
            <p:nvPr>
              <p:custDataLst>
                <p:tags r:id="rId14"/>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l" defTabSz="895350" rtl="0" eaLnBrk="1" fontAlgn="base" latinLnBrk="0" hangingPunct="1">
                <a:lnSpc>
                  <a:spcPct val="90000"/>
                </a:lnSpc>
                <a:spcBef>
                  <a:spcPct val="0"/>
                </a:spcBef>
                <a:spcAft>
                  <a:spcPct val="0"/>
                </a:spcAft>
                <a:buClr>
                  <a:srgbClr val="352A49"/>
                </a:buClr>
                <a:buSzPct val="80000"/>
                <a:buFontTx/>
                <a:buNone/>
                <a:tabLst/>
                <a:defRPr/>
              </a:pPr>
              <a:r>
                <a:rPr kumimoji="0" lang="en-US" sz="1372" b="0" i="0" u="sng" strike="noStrike" kern="1200" cap="none" spc="0" normalizeH="0" baseline="0" noProof="0" dirty="0">
                  <a:ln>
                    <a:noFill/>
                  </a:ln>
                  <a:solidFill>
                    <a:prstClr val="white"/>
                  </a:solidFill>
                  <a:effectLst/>
                  <a:uLnTx/>
                  <a:uFillTx/>
                  <a:latin typeface="Arial" charset="0"/>
                  <a:ea typeface="+mn-ea"/>
                  <a:cs typeface="Arial" charset="0"/>
                </a:rPr>
                <a:t>R</a:t>
              </a:r>
              <a:r>
                <a:rPr kumimoji="0" lang="en-US" sz="1372" b="0" i="0" u="none" strike="noStrike" kern="1200" cap="none" spc="0" normalizeH="0" baseline="0" noProof="0" dirty="0">
                  <a:ln>
                    <a:noFill/>
                  </a:ln>
                  <a:solidFill>
                    <a:prstClr val="white"/>
                  </a:solidFill>
                  <a:effectLst/>
                  <a:uLnTx/>
                  <a:uFillTx/>
                  <a:latin typeface="Arial" charset="0"/>
                  <a:ea typeface="+mn-ea"/>
                  <a:cs typeface="Arial" charset="0"/>
                </a:rPr>
                <a:t>esults- oriented</a:t>
              </a:r>
            </a:p>
          </p:txBody>
        </p:sp>
      </p:grpSp>
      <p:grpSp>
        <p:nvGrpSpPr>
          <p:cNvPr id="24" name="Group 22">
            <a:extLst>
              <a:ext uri="{FF2B5EF4-FFF2-40B4-BE49-F238E27FC236}">
                <a16:creationId xmlns:a16="http://schemas.microsoft.com/office/drawing/2014/main" id="{64A7AF3E-9174-AB47-B5B9-6EA76C53DB33}"/>
              </a:ext>
            </a:extLst>
          </p:cNvPr>
          <p:cNvGrpSpPr>
            <a:grpSpLocks/>
          </p:cNvGrpSpPr>
          <p:nvPr>
            <p:custDataLst>
              <p:tags r:id="rId5"/>
            </p:custDataLst>
          </p:nvPr>
        </p:nvGrpSpPr>
        <p:grpSpPr bwMode="auto">
          <a:xfrm>
            <a:off x="560868" y="1947027"/>
            <a:ext cx="1411116" cy="572536"/>
            <a:chOff x="352" y="975"/>
            <a:chExt cx="737" cy="335"/>
          </a:xfrm>
          <a:solidFill>
            <a:schemeClr val="accent3"/>
          </a:solidFill>
          <a:effectLst>
            <a:outerShdw blurRad="50800" dist="38100" dir="2700000" algn="tl" rotWithShape="0">
              <a:prstClr val="black">
                <a:alpha val="40000"/>
              </a:prstClr>
            </a:outerShdw>
          </a:effectLst>
        </p:grpSpPr>
        <p:sp>
          <p:nvSpPr>
            <p:cNvPr id="25" name="Freeform 27">
              <a:extLst>
                <a:ext uri="{FF2B5EF4-FFF2-40B4-BE49-F238E27FC236}">
                  <a16:creationId xmlns:a16="http://schemas.microsoft.com/office/drawing/2014/main" id="{6DB77FA5-6FF4-BA4A-AB19-0C46E3A6700E}"/>
                </a:ext>
              </a:extLst>
            </p:cNvPr>
            <p:cNvSpPr>
              <a:spLocks/>
            </p:cNvSpPr>
            <p:nvPr>
              <p:custDataLst>
                <p:tags r:id="rId11"/>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prstClr val="white"/>
                </a:solidFill>
                <a:effectLst/>
                <a:uLnTx/>
                <a:uFillTx/>
                <a:latin typeface="Arial" charset="0"/>
                <a:ea typeface="+mn-ea"/>
                <a:cs typeface="+mn-cs"/>
              </a:endParaRPr>
            </a:p>
          </p:txBody>
        </p:sp>
        <p:sp>
          <p:nvSpPr>
            <p:cNvPr id="26" name="Rectangle 28">
              <a:extLst>
                <a:ext uri="{FF2B5EF4-FFF2-40B4-BE49-F238E27FC236}">
                  <a16:creationId xmlns:a16="http://schemas.microsoft.com/office/drawing/2014/main" id="{E210093A-143B-9D4B-96B8-7E74F0649718}"/>
                </a:ext>
              </a:extLst>
            </p:cNvPr>
            <p:cNvSpPr>
              <a:spLocks noChangeArrowheads="1"/>
            </p:cNvSpPr>
            <p:nvPr>
              <p:custDataLst>
                <p:tags r:id="rId12"/>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
                  <a:srgbClr val="352A49"/>
                </a:buClr>
                <a:buSzPct val="80000"/>
                <a:buFontTx/>
                <a:buNone/>
                <a:tabLst/>
                <a:defRPr/>
              </a:pPr>
              <a:r>
                <a:rPr kumimoji="0" lang="en-US" sz="1372" b="0" i="0" u="sng" strike="noStrike" kern="1200" cap="none" spc="0" normalizeH="0" baseline="0" noProof="0" dirty="0">
                  <a:ln>
                    <a:noFill/>
                  </a:ln>
                  <a:solidFill>
                    <a:prstClr val="white"/>
                  </a:solidFill>
                  <a:effectLst/>
                  <a:uLnTx/>
                  <a:uFillTx/>
                  <a:latin typeface="Arial" charset="0"/>
                  <a:ea typeface="+mn-ea"/>
                  <a:cs typeface="Arial" charset="0"/>
                </a:rPr>
                <a:t>S</a:t>
              </a:r>
              <a:r>
                <a:rPr kumimoji="0" lang="en-US" sz="1372" b="0" i="0" u="none" strike="noStrike" kern="1200" cap="none" spc="0" normalizeH="0" baseline="0" noProof="0" dirty="0">
                  <a:ln>
                    <a:noFill/>
                  </a:ln>
                  <a:solidFill>
                    <a:prstClr val="white"/>
                  </a:solidFill>
                  <a:effectLst/>
                  <a:uLnTx/>
                  <a:uFillTx/>
                  <a:latin typeface="Arial" charset="0"/>
                  <a:ea typeface="+mn-ea"/>
                  <a:cs typeface="Arial" charset="0"/>
                </a:rPr>
                <a:t>pecific</a:t>
              </a:r>
            </a:p>
          </p:txBody>
        </p:sp>
      </p:grpSp>
      <p:sp>
        <p:nvSpPr>
          <p:cNvPr id="34" name="Freeform 12">
            <a:extLst>
              <a:ext uri="{FF2B5EF4-FFF2-40B4-BE49-F238E27FC236}">
                <a16:creationId xmlns:a16="http://schemas.microsoft.com/office/drawing/2014/main" id="{394B31EC-4E97-3D4F-9E45-89FB8FCC44B5}"/>
              </a:ext>
            </a:extLst>
          </p:cNvPr>
          <p:cNvSpPr>
            <a:spLocks/>
          </p:cNvSpPr>
          <p:nvPr>
            <p:custDataLst>
              <p:tags r:id="rId6"/>
            </p:custDataLst>
          </p:nvPr>
        </p:nvSpPr>
        <p:spPr bwMode="gray">
          <a:xfrm>
            <a:off x="2180596" y="5401797"/>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280035" marR="0" lvl="0" indent="-28003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solidFill>
                  <a:prstClr val="black"/>
                </a:solidFill>
                <a:effectLst/>
                <a:uLnTx/>
                <a:uFillTx/>
                <a:latin typeface="Arial" charset="0"/>
                <a:ea typeface="+mn-ea"/>
                <a:cs typeface="+mn-cs"/>
              </a:rPr>
              <a:t>Actions should have a specific deadline which tells the action owner by when it should be implemented. If there are several stages required for the action, each stage can be a separate action, with a defined deadline.</a:t>
            </a:r>
            <a:endParaRPr kumimoji="0" lang="en-US" sz="1176" b="0" i="1" u="none" strike="noStrike" kern="1200" cap="none" spc="0" normalizeH="0" baseline="0" noProof="0" dirty="0">
              <a:ln>
                <a:noFill/>
              </a:ln>
              <a:solidFill>
                <a:prstClr val="black"/>
              </a:solidFill>
              <a:effectLst/>
              <a:uLnTx/>
              <a:uFillTx/>
              <a:latin typeface="Arial" charset="0"/>
              <a:ea typeface="+mn-ea"/>
              <a:cs typeface="+mn-cs"/>
            </a:endParaRPr>
          </a:p>
        </p:txBody>
      </p:sp>
      <p:sp>
        <p:nvSpPr>
          <p:cNvPr id="36" name="Freeform 12">
            <a:extLst>
              <a:ext uri="{FF2B5EF4-FFF2-40B4-BE49-F238E27FC236}">
                <a16:creationId xmlns:a16="http://schemas.microsoft.com/office/drawing/2014/main" id="{60FAB875-FE34-1D47-B8EC-42E35EE94112}"/>
              </a:ext>
            </a:extLst>
          </p:cNvPr>
          <p:cNvSpPr>
            <a:spLocks/>
          </p:cNvSpPr>
          <p:nvPr>
            <p:custDataLst>
              <p:tags r:id="rId7"/>
            </p:custDataLst>
          </p:nvPr>
        </p:nvSpPr>
        <p:spPr bwMode="gray">
          <a:xfrm>
            <a:off x="2180596" y="1947220"/>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280035" marR="0" lvl="0" indent="-28003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solidFill>
                  <a:prstClr val="black"/>
                </a:solidFill>
                <a:effectLst/>
                <a:uLnTx/>
                <a:uFillTx/>
                <a:latin typeface="Arial" charset="0"/>
                <a:ea typeface="+mn-ea"/>
                <a:cs typeface="+mn-cs"/>
              </a:rPr>
              <a:t>Actions must be clear and specific. They must include all of the information required for the action owner to coordinate the action, and be specific about what is expected, when and at what level.</a:t>
            </a:r>
            <a:endParaRPr kumimoji="0" lang="en-US" sz="1176" b="0" i="1" u="none" strike="noStrike" kern="1200" cap="none" spc="0" normalizeH="0" baseline="0" noProof="0" dirty="0">
              <a:ln>
                <a:noFill/>
              </a:ln>
              <a:solidFill>
                <a:prstClr val="black"/>
              </a:solidFill>
              <a:effectLst/>
              <a:uLnTx/>
              <a:uFillTx/>
              <a:latin typeface="Arial" charset="0"/>
              <a:ea typeface="+mn-ea"/>
              <a:cs typeface="+mn-cs"/>
            </a:endParaRPr>
          </a:p>
        </p:txBody>
      </p:sp>
      <p:sp>
        <p:nvSpPr>
          <p:cNvPr id="37" name="Freeform 12">
            <a:extLst>
              <a:ext uri="{FF2B5EF4-FFF2-40B4-BE49-F238E27FC236}">
                <a16:creationId xmlns:a16="http://schemas.microsoft.com/office/drawing/2014/main" id="{0359813D-4118-474A-B143-743A3A0801B5}"/>
              </a:ext>
            </a:extLst>
          </p:cNvPr>
          <p:cNvSpPr>
            <a:spLocks/>
          </p:cNvSpPr>
          <p:nvPr>
            <p:custDataLst>
              <p:tags r:id="rId8"/>
            </p:custDataLst>
          </p:nvPr>
        </p:nvSpPr>
        <p:spPr bwMode="gray">
          <a:xfrm>
            <a:off x="2180596" y="2811109"/>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280035" marR="0" lvl="0" indent="-28003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solidFill>
                  <a:prstClr val="black"/>
                </a:solidFill>
                <a:effectLst/>
                <a:uLnTx/>
                <a:uFillTx/>
                <a:latin typeface="Arial" charset="0"/>
                <a:ea typeface="+mn-ea"/>
                <a:cs typeface="+mn-cs"/>
              </a:rPr>
              <a:t>Actions should quantify the target when possible to define success. They include numbers to indicate how much will be achieved (e.g. how many commodities will be ordered or how many staff will be trained, how many people should be </a:t>
            </a:r>
            <a:r>
              <a:rPr kumimoji="0" lang="en-US" sz="1176" b="0" i="0" u="none" strike="noStrike" kern="1200" cap="none" spc="0" normalizeH="0" baseline="0" noProof="0" dirty="0" err="1">
                <a:ln>
                  <a:noFill/>
                </a:ln>
                <a:solidFill>
                  <a:prstClr val="black"/>
                </a:solidFill>
                <a:effectLst/>
                <a:uLnTx/>
                <a:uFillTx/>
                <a:latin typeface="Arial" charset="0"/>
                <a:ea typeface="+mn-ea"/>
                <a:cs typeface="+mn-cs"/>
              </a:rPr>
              <a:t>sensitised</a:t>
            </a:r>
            <a:r>
              <a:rPr kumimoji="0" lang="en-US" sz="1176" b="0" i="0" u="none" strike="noStrike" kern="1200" cap="none" spc="0" normalizeH="0" baseline="0" noProof="0" dirty="0">
                <a:ln>
                  <a:noFill/>
                </a:ln>
                <a:solidFill>
                  <a:prstClr val="black"/>
                </a:solidFill>
                <a:effectLst/>
                <a:uLnTx/>
                <a:uFillTx/>
                <a:latin typeface="Arial" charset="0"/>
                <a:ea typeface="+mn-ea"/>
                <a:cs typeface="+mn-cs"/>
              </a:rPr>
              <a:t>)</a:t>
            </a:r>
            <a:endParaRPr kumimoji="0" lang="en-US" sz="1176" b="0" i="1" u="none" strike="noStrike" kern="1200" cap="none" spc="0" normalizeH="0" baseline="0" noProof="0" dirty="0">
              <a:ln>
                <a:noFill/>
              </a:ln>
              <a:solidFill>
                <a:prstClr val="black"/>
              </a:solidFill>
              <a:effectLst/>
              <a:uLnTx/>
              <a:uFillTx/>
              <a:latin typeface="Arial" charset="0"/>
              <a:ea typeface="+mn-ea"/>
              <a:cs typeface="+mn-cs"/>
            </a:endParaRPr>
          </a:p>
        </p:txBody>
      </p:sp>
      <p:sp>
        <p:nvSpPr>
          <p:cNvPr id="38" name="Freeform 12">
            <a:extLst>
              <a:ext uri="{FF2B5EF4-FFF2-40B4-BE49-F238E27FC236}">
                <a16:creationId xmlns:a16="http://schemas.microsoft.com/office/drawing/2014/main" id="{12B3FAC4-9904-0247-B538-B295D5E20BFA}"/>
              </a:ext>
            </a:extLst>
          </p:cNvPr>
          <p:cNvSpPr>
            <a:spLocks/>
          </p:cNvSpPr>
          <p:nvPr>
            <p:custDataLst>
              <p:tags r:id="rId9"/>
            </p:custDataLst>
          </p:nvPr>
        </p:nvSpPr>
        <p:spPr bwMode="gray">
          <a:xfrm>
            <a:off x="2180596" y="3719389"/>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280035" marR="0" lvl="0" indent="-28003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solidFill>
                  <a:prstClr val="black"/>
                </a:solidFill>
                <a:effectLst/>
                <a:uLnTx/>
                <a:uFillTx/>
                <a:latin typeface="Arial" charset="0"/>
                <a:ea typeface="+mn-ea"/>
                <a:cs typeface="+mn-cs"/>
              </a:rPr>
              <a:t>Actions must be realistic and achievable by the identified owner who should have the means to implement them.</a:t>
            </a:r>
            <a:endParaRPr kumimoji="0" lang="en-US" sz="1176" b="0" i="1" u="none" strike="noStrike" kern="1200" cap="none" spc="0" normalizeH="0" baseline="0" noProof="0" dirty="0">
              <a:ln>
                <a:noFill/>
              </a:ln>
              <a:solidFill>
                <a:prstClr val="black"/>
              </a:solidFill>
              <a:effectLst/>
              <a:uLnTx/>
              <a:uFillTx/>
              <a:latin typeface="Arial" charset="0"/>
              <a:ea typeface="+mn-ea"/>
              <a:cs typeface="+mn-cs"/>
            </a:endParaRPr>
          </a:p>
        </p:txBody>
      </p:sp>
      <p:sp>
        <p:nvSpPr>
          <p:cNvPr id="39" name="Freeform 12">
            <a:extLst>
              <a:ext uri="{FF2B5EF4-FFF2-40B4-BE49-F238E27FC236}">
                <a16:creationId xmlns:a16="http://schemas.microsoft.com/office/drawing/2014/main" id="{0A0BC2AA-6838-C844-ABF5-7C3957475731}"/>
              </a:ext>
            </a:extLst>
          </p:cNvPr>
          <p:cNvSpPr>
            <a:spLocks/>
          </p:cNvSpPr>
          <p:nvPr>
            <p:custDataLst>
              <p:tags r:id="rId10"/>
            </p:custDataLst>
          </p:nvPr>
        </p:nvSpPr>
        <p:spPr bwMode="gray">
          <a:xfrm>
            <a:off x="2180596" y="4538496"/>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280035" marR="0" lvl="0" indent="-28003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solidFill>
                  <a:prstClr val="black"/>
                </a:solidFill>
                <a:effectLst/>
                <a:uLnTx/>
                <a:uFillTx/>
                <a:latin typeface="Arial" charset="0"/>
                <a:ea typeface="+mn-ea"/>
                <a:cs typeface="+mn-cs"/>
              </a:rPr>
              <a:t>The action should address the root cause of the problem in a way that will result in an improvement in the indicator’s performance. </a:t>
            </a:r>
          </a:p>
        </p:txBody>
      </p:sp>
      <p:sp>
        <p:nvSpPr>
          <p:cNvPr id="27" name="TextBox 26">
            <a:extLst>
              <a:ext uri="{FF2B5EF4-FFF2-40B4-BE49-F238E27FC236}">
                <a16:creationId xmlns:a16="http://schemas.microsoft.com/office/drawing/2014/main" id="{8E571B9D-AD6C-EE45-9027-127B7C546EB5}"/>
              </a:ext>
            </a:extLst>
          </p:cNvPr>
          <p:cNvSpPr txBox="1"/>
          <p:nvPr/>
        </p:nvSpPr>
        <p:spPr>
          <a:xfrm>
            <a:off x="3457946" y="1624248"/>
            <a:ext cx="3477428" cy="241285"/>
          </a:xfrm>
          <a:prstGeom prst="rect">
            <a:avLst/>
          </a:prstGeom>
        </p:spPr>
        <p:txBody>
          <a:bodyPr vert="horz"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iteria</a:t>
            </a:r>
          </a:p>
        </p:txBody>
      </p:sp>
    </p:spTree>
    <p:extLst>
      <p:ext uri="{BB962C8B-B14F-4D97-AF65-F5344CB8AC3E}">
        <p14:creationId xmlns:p14="http://schemas.microsoft.com/office/powerpoint/2010/main" val="22505486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a:t>The SMART framework can help generate smart action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How to create smart actions</a:t>
            </a:r>
          </a:p>
        </p:txBody>
      </p:sp>
      <p:grpSp>
        <p:nvGrpSpPr>
          <p:cNvPr id="6" name="Group 10">
            <a:extLst>
              <a:ext uri="{FF2B5EF4-FFF2-40B4-BE49-F238E27FC236}">
                <a16:creationId xmlns:a16="http://schemas.microsoft.com/office/drawing/2014/main" id="{A0D24122-AC54-0D40-B4F5-1FF14AC4A3F5}"/>
              </a:ext>
            </a:extLst>
          </p:cNvPr>
          <p:cNvGrpSpPr>
            <a:grpSpLocks/>
          </p:cNvGrpSpPr>
          <p:nvPr>
            <p:custDataLst>
              <p:tags r:id="rId1"/>
            </p:custDataLst>
          </p:nvPr>
        </p:nvGrpSpPr>
        <p:grpSpPr bwMode="auto">
          <a:xfrm>
            <a:off x="4596545" y="5166299"/>
            <a:ext cx="4076034" cy="904894"/>
            <a:chOff x="352" y="3175"/>
            <a:chExt cx="737" cy="335"/>
          </a:xfrm>
          <a:solidFill>
            <a:schemeClr val="accent3"/>
          </a:solidFill>
          <a:effectLst/>
        </p:grpSpPr>
        <p:sp>
          <p:nvSpPr>
            <p:cNvPr id="7" name="Freeform 12">
              <a:extLst>
                <a:ext uri="{FF2B5EF4-FFF2-40B4-BE49-F238E27FC236}">
                  <a16:creationId xmlns:a16="http://schemas.microsoft.com/office/drawing/2014/main" id="{B826C004-2094-FC4D-895F-6682FB9EA190}"/>
                </a:ext>
              </a:extLst>
            </p:cNvPr>
            <p:cNvSpPr>
              <a:spLocks/>
            </p:cNvSpPr>
            <p:nvPr>
              <p:custDataLst>
                <p:tags r:id="rId18"/>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endParaRPr lang="en-US" sz="1372">
                <a:solidFill>
                  <a:prstClr val="white"/>
                </a:solidFill>
                <a:latin typeface="Calibri" panose="020F0502020204030204"/>
              </a:endParaRPr>
            </a:p>
          </p:txBody>
        </p:sp>
        <p:sp>
          <p:nvSpPr>
            <p:cNvPr id="8" name="Rectangle 13">
              <a:extLst>
                <a:ext uri="{FF2B5EF4-FFF2-40B4-BE49-F238E27FC236}">
                  <a16:creationId xmlns:a16="http://schemas.microsoft.com/office/drawing/2014/main" id="{0D078764-E70F-1248-A894-62E3DBBF6D80}"/>
                </a:ext>
              </a:extLst>
            </p:cNvPr>
            <p:cNvSpPr>
              <a:spLocks noChangeArrowheads="1"/>
            </p:cNvSpPr>
            <p:nvPr>
              <p:custDataLst>
                <p:tags r:id="rId19"/>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defTabSz="877443" fontAlgn="auto">
                <a:spcBef>
                  <a:spcPts val="0"/>
                </a:spcBef>
                <a:spcAft>
                  <a:spcPts val="0"/>
                </a:spcAft>
                <a:buClr>
                  <a:srgbClr val="352A49"/>
                </a:buClr>
                <a:buSzPct val="80000"/>
              </a:pPr>
              <a:r>
                <a:rPr lang="en-US" sz="1372" u="sng" dirty="0">
                  <a:solidFill>
                    <a:prstClr val="white"/>
                  </a:solidFill>
                  <a:cs typeface="Arial" charset="0"/>
                </a:rPr>
                <a:t>T</a:t>
              </a:r>
              <a:r>
                <a:rPr lang="en-US" sz="1372" dirty="0">
                  <a:solidFill>
                    <a:prstClr val="white"/>
                  </a:solidFill>
                  <a:cs typeface="Arial" charset="0"/>
                </a:rPr>
                <a:t>ime-bound: This action must be implemented by 23 November 2021</a:t>
              </a:r>
            </a:p>
          </p:txBody>
        </p:sp>
      </p:grpSp>
      <p:grpSp>
        <p:nvGrpSpPr>
          <p:cNvPr id="10" name="Group 13">
            <a:extLst>
              <a:ext uri="{FF2B5EF4-FFF2-40B4-BE49-F238E27FC236}">
                <a16:creationId xmlns:a16="http://schemas.microsoft.com/office/drawing/2014/main" id="{76E4BDC0-3933-8243-AF18-152D1BDF01CA}"/>
              </a:ext>
            </a:extLst>
          </p:cNvPr>
          <p:cNvGrpSpPr>
            <a:grpSpLocks/>
          </p:cNvGrpSpPr>
          <p:nvPr>
            <p:custDataLst>
              <p:tags r:id="rId2"/>
            </p:custDataLst>
          </p:nvPr>
        </p:nvGrpSpPr>
        <p:grpSpPr bwMode="auto">
          <a:xfrm>
            <a:off x="3168926" y="4261874"/>
            <a:ext cx="2404051" cy="778369"/>
            <a:chOff x="352" y="1612"/>
            <a:chExt cx="594" cy="335"/>
          </a:xfrm>
          <a:solidFill>
            <a:schemeClr val="accent3"/>
          </a:solidFill>
          <a:effectLst>
            <a:outerShdw blurRad="50800" dist="38100" dir="2700000" algn="tl" rotWithShape="0">
              <a:prstClr val="black">
                <a:alpha val="40000"/>
              </a:prstClr>
            </a:outerShdw>
          </a:effectLst>
        </p:grpSpPr>
        <p:sp>
          <p:nvSpPr>
            <p:cNvPr id="11" name="Freeform 15">
              <a:extLst>
                <a:ext uri="{FF2B5EF4-FFF2-40B4-BE49-F238E27FC236}">
                  <a16:creationId xmlns:a16="http://schemas.microsoft.com/office/drawing/2014/main" id="{C4076960-1501-4A41-A978-BF089F46E4B0}"/>
                </a:ext>
              </a:extLst>
            </p:cNvPr>
            <p:cNvSpPr>
              <a:spLocks/>
            </p:cNvSpPr>
            <p:nvPr>
              <p:custDataLst>
                <p:tags r:id="rId16"/>
              </p:custDataLst>
            </p:nvPr>
          </p:nvSpPr>
          <p:spPr bwMode="gray">
            <a:xfrm>
              <a:off x="352" y="1612"/>
              <a:ext cx="594"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endParaRPr lang="en-US" sz="1372">
                <a:solidFill>
                  <a:prstClr val="white"/>
                </a:solidFill>
                <a:latin typeface="Calibri" panose="020F0502020204030204"/>
              </a:endParaRPr>
            </a:p>
          </p:txBody>
        </p:sp>
        <p:sp>
          <p:nvSpPr>
            <p:cNvPr id="12" name="Rectangle 16">
              <a:extLst>
                <a:ext uri="{FF2B5EF4-FFF2-40B4-BE49-F238E27FC236}">
                  <a16:creationId xmlns:a16="http://schemas.microsoft.com/office/drawing/2014/main" id="{DB217314-92A2-0C48-A2F9-CD68DD8EA679}"/>
                </a:ext>
              </a:extLst>
            </p:cNvPr>
            <p:cNvSpPr>
              <a:spLocks noChangeArrowheads="1"/>
            </p:cNvSpPr>
            <p:nvPr>
              <p:custDataLst>
                <p:tags r:id="rId17"/>
              </p:custDataLst>
            </p:nvPr>
          </p:nvSpPr>
          <p:spPr bwMode="gray">
            <a:xfrm>
              <a:off x="388" y="1635"/>
              <a:ext cx="496"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defTabSz="877443" fontAlgn="auto">
                <a:spcBef>
                  <a:spcPts val="0"/>
                </a:spcBef>
                <a:spcAft>
                  <a:spcPts val="0"/>
                </a:spcAft>
                <a:buClr>
                  <a:srgbClr val="352A49"/>
                </a:buClr>
                <a:buSzPct val="80000"/>
              </a:pPr>
              <a:r>
                <a:rPr lang="en-US" sz="1372" b="1" u="sng" dirty="0">
                  <a:solidFill>
                    <a:prstClr val="white"/>
                  </a:solidFill>
                  <a:cs typeface="Arial" charset="0"/>
                </a:rPr>
                <a:t>M</a:t>
              </a:r>
              <a:r>
                <a:rPr lang="en-US" sz="1372" b="1" dirty="0">
                  <a:solidFill>
                    <a:prstClr val="white"/>
                  </a:solidFill>
                  <a:cs typeface="Arial" charset="0"/>
                </a:rPr>
                <a:t>easurable</a:t>
              </a:r>
              <a:r>
                <a:rPr lang="en-US" sz="1372" dirty="0">
                  <a:solidFill>
                    <a:prstClr val="white"/>
                  </a:solidFill>
                  <a:cs typeface="Arial" charset="0"/>
                </a:rPr>
                <a:t>: 3000 doses, 1400 for District X and 1600 for District Y</a:t>
              </a:r>
            </a:p>
          </p:txBody>
        </p:sp>
      </p:grpSp>
      <p:grpSp>
        <p:nvGrpSpPr>
          <p:cNvPr id="14" name="Group 16">
            <a:extLst>
              <a:ext uri="{FF2B5EF4-FFF2-40B4-BE49-F238E27FC236}">
                <a16:creationId xmlns:a16="http://schemas.microsoft.com/office/drawing/2014/main" id="{C91642F4-54E1-BA49-BDC8-9024CA7B6347}"/>
              </a:ext>
            </a:extLst>
          </p:cNvPr>
          <p:cNvGrpSpPr>
            <a:grpSpLocks/>
          </p:cNvGrpSpPr>
          <p:nvPr>
            <p:custDataLst>
              <p:tags r:id="rId3"/>
            </p:custDataLst>
          </p:nvPr>
        </p:nvGrpSpPr>
        <p:grpSpPr bwMode="auto">
          <a:xfrm>
            <a:off x="5693147" y="4226635"/>
            <a:ext cx="2979432" cy="846522"/>
            <a:chOff x="352" y="2071"/>
            <a:chExt cx="737" cy="335"/>
          </a:xfrm>
          <a:solidFill>
            <a:schemeClr val="accent3"/>
          </a:solidFill>
          <a:effectLst>
            <a:outerShdw blurRad="50800" dist="38100" dir="2700000" algn="tl" rotWithShape="0">
              <a:prstClr val="black">
                <a:alpha val="40000"/>
              </a:prstClr>
            </a:outerShdw>
          </a:effectLst>
        </p:grpSpPr>
        <p:sp>
          <p:nvSpPr>
            <p:cNvPr id="17" name="Freeform 19">
              <a:extLst>
                <a:ext uri="{FF2B5EF4-FFF2-40B4-BE49-F238E27FC236}">
                  <a16:creationId xmlns:a16="http://schemas.microsoft.com/office/drawing/2014/main" id="{51B656AA-89BB-4541-A15B-AE650EB1F500}"/>
                </a:ext>
              </a:extLst>
            </p:cNvPr>
            <p:cNvSpPr>
              <a:spLocks/>
            </p:cNvSpPr>
            <p:nvPr>
              <p:custDataLst>
                <p:tags r:id="rId14"/>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endParaRPr lang="en-US" sz="1372">
                <a:solidFill>
                  <a:prstClr val="white"/>
                </a:solidFill>
                <a:latin typeface="Calibri" panose="020F0502020204030204"/>
              </a:endParaRPr>
            </a:p>
          </p:txBody>
        </p:sp>
        <p:sp>
          <p:nvSpPr>
            <p:cNvPr id="18" name="Rectangle 20">
              <a:extLst>
                <a:ext uri="{FF2B5EF4-FFF2-40B4-BE49-F238E27FC236}">
                  <a16:creationId xmlns:a16="http://schemas.microsoft.com/office/drawing/2014/main" id="{A46E5B95-396D-9246-87BC-611895217DAF}"/>
                </a:ext>
              </a:extLst>
            </p:cNvPr>
            <p:cNvSpPr>
              <a:spLocks noChangeArrowheads="1"/>
            </p:cNvSpPr>
            <p:nvPr>
              <p:custDataLst>
                <p:tags r:id="rId15"/>
              </p:custDataLst>
            </p:nvPr>
          </p:nvSpPr>
          <p:spPr bwMode="gray">
            <a:xfrm>
              <a:off x="384" y="2090"/>
              <a:ext cx="689"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defTabSz="877443" fontAlgn="auto">
                <a:spcBef>
                  <a:spcPts val="0"/>
                </a:spcBef>
                <a:spcAft>
                  <a:spcPts val="0"/>
                </a:spcAft>
                <a:buClr>
                  <a:srgbClr val="352A49"/>
                </a:buClr>
                <a:buSzPct val="80000"/>
              </a:pPr>
              <a:r>
                <a:rPr lang="en-US" sz="1372" b="1" u="sng" dirty="0">
                  <a:solidFill>
                    <a:prstClr val="white"/>
                  </a:solidFill>
                  <a:cs typeface="Arial" charset="0"/>
                </a:rPr>
                <a:t>A</a:t>
              </a:r>
              <a:r>
                <a:rPr lang="en-US" sz="1372" b="1" dirty="0">
                  <a:solidFill>
                    <a:prstClr val="white"/>
                  </a:solidFill>
                  <a:cs typeface="Arial" charset="0"/>
                </a:rPr>
                <a:t>chievable: </a:t>
              </a:r>
              <a:r>
                <a:rPr lang="en-US" sz="1372" dirty="0">
                  <a:solidFill>
                    <a:prstClr val="white"/>
                  </a:solidFill>
                  <a:cs typeface="Arial" charset="0"/>
                </a:rPr>
                <a:t>Medical Store manager is capable to ordering and coordinating delivery of medicine</a:t>
              </a:r>
            </a:p>
          </p:txBody>
        </p:sp>
      </p:grpSp>
      <p:grpSp>
        <p:nvGrpSpPr>
          <p:cNvPr id="20" name="Group 19">
            <a:extLst>
              <a:ext uri="{FF2B5EF4-FFF2-40B4-BE49-F238E27FC236}">
                <a16:creationId xmlns:a16="http://schemas.microsoft.com/office/drawing/2014/main" id="{6A9C5504-306B-E042-AAC7-5985CA20A3ED}"/>
              </a:ext>
            </a:extLst>
          </p:cNvPr>
          <p:cNvGrpSpPr>
            <a:grpSpLocks/>
          </p:cNvGrpSpPr>
          <p:nvPr>
            <p:custDataLst>
              <p:tags r:id="rId4"/>
            </p:custDataLst>
          </p:nvPr>
        </p:nvGrpSpPr>
        <p:grpSpPr bwMode="auto">
          <a:xfrm>
            <a:off x="281087" y="5166299"/>
            <a:ext cx="4169149" cy="904894"/>
            <a:chOff x="352" y="2702"/>
            <a:chExt cx="737" cy="335"/>
          </a:xfrm>
          <a:solidFill>
            <a:schemeClr val="accent3"/>
          </a:solidFill>
          <a:effectLst>
            <a:outerShdw blurRad="50800" dist="38100" dir="2700000" algn="tl" rotWithShape="0">
              <a:prstClr val="black">
                <a:alpha val="40000"/>
              </a:prstClr>
            </a:outerShdw>
          </a:effectLst>
        </p:grpSpPr>
        <p:sp>
          <p:nvSpPr>
            <p:cNvPr id="21" name="Freeform 23">
              <a:extLst>
                <a:ext uri="{FF2B5EF4-FFF2-40B4-BE49-F238E27FC236}">
                  <a16:creationId xmlns:a16="http://schemas.microsoft.com/office/drawing/2014/main" id="{5203CABD-6BC4-2C45-81C3-51C97EB08170}"/>
                </a:ext>
              </a:extLst>
            </p:cNvPr>
            <p:cNvSpPr>
              <a:spLocks/>
            </p:cNvSpPr>
            <p:nvPr>
              <p:custDataLst>
                <p:tags r:id="rId12"/>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endParaRPr lang="en-US" sz="1372">
                <a:solidFill>
                  <a:prstClr val="white"/>
                </a:solidFill>
                <a:latin typeface="Calibri" panose="020F0502020204030204"/>
              </a:endParaRPr>
            </a:p>
          </p:txBody>
        </p:sp>
        <p:sp>
          <p:nvSpPr>
            <p:cNvPr id="22" name="Rectangle 24">
              <a:extLst>
                <a:ext uri="{FF2B5EF4-FFF2-40B4-BE49-F238E27FC236}">
                  <a16:creationId xmlns:a16="http://schemas.microsoft.com/office/drawing/2014/main" id="{BB747CF6-4B14-8642-8351-598CC71F0A6E}"/>
                </a:ext>
              </a:extLst>
            </p:cNvPr>
            <p:cNvSpPr>
              <a:spLocks noChangeArrowheads="1"/>
            </p:cNvSpPr>
            <p:nvPr>
              <p:custDataLst>
                <p:tags r:id="rId13"/>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defTabSz="877443" fontAlgn="auto">
                <a:lnSpc>
                  <a:spcPct val="90000"/>
                </a:lnSpc>
                <a:spcBef>
                  <a:spcPts val="0"/>
                </a:spcBef>
                <a:spcAft>
                  <a:spcPts val="0"/>
                </a:spcAft>
                <a:buClr>
                  <a:srgbClr val="352A49"/>
                </a:buClr>
                <a:buSzPct val="80000"/>
              </a:pPr>
              <a:r>
                <a:rPr lang="en-US" sz="1372" b="1" u="sng" dirty="0">
                  <a:solidFill>
                    <a:prstClr val="white"/>
                  </a:solidFill>
                  <a:cs typeface="Arial" charset="0"/>
                </a:rPr>
                <a:t>R</a:t>
              </a:r>
              <a:r>
                <a:rPr lang="en-US" sz="1372" b="1" dirty="0">
                  <a:solidFill>
                    <a:prstClr val="white"/>
                  </a:solidFill>
                  <a:cs typeface="Arial" charset="0"/>
                </a:rPr>
                <a:t>esults-oriented: </a:t>
              </a:r>
              <a:r>
                <a:rPr lang="en-US" sz="1372" dirty="0">
                  <a:solidFill>
                    <a:prstClr val="white"/>
                  </a:solidFill>
                  <a:cs typeface="Arial" charset="0"/>
                </a:rPr>
                <a:t>ordering and distributing the primaquine will resolve the stockout issue and lead to an improved treatment rate  </a:t>
              </a:r>
            </a:p>
          </p:txBody>
        </p:sp>
      </p:grpSp>
      <p:grpSp>
        <p:nvGrpSpPr>
          <p:cNvPr id="24" name="Group 22">
            <a:extLst>
              <a:ext uri="{FF2B5EF4-FFF2-40B4-BE49-F238E27FC236}">
                <a16:creationId xmlns:a16="http://schemas.microsoft.com/office/drawing/2014/main" id="{64A7AF3E-9174-AB47-B5B9-6EA76C53DB33}"/>
              </a:ext>
            </a:extLst>
          </p:cNvPr>
          <p:cNvGrpSpPr>
            <a:grpSpLocks/>
          </p:cNvGrpSpPr>
          <p:nvPr>
            <p:custDataLst>
              <p:tags r:id="rId5"/>
            </p:custDataLst>
          </p:nvPr>
        </p:nvGrpSpPr>
        <p:grpSpPr bwMode="auto">
          <a:xfrm>
            <a:off x="281088" y="4261874"/>
            <a:ext cx="2767668" cy="778370"/>
            <a:chOff x="352" y="975"/>
            <a:chExt cx="737" cy="335"/>
          </a:xfrm>
          <a:solidFill>
            <a:schemeClr val="accent3"/>
          </a:solidFill>
          <a:effectLst>
            <a:outerShdw blurRad="50800" dist="38100" dir="2700000" algn="tl" rotWithShape="0">
              <a:prstClr val="black">
                <a:alpha val="40000"/>
              </a:prstClr>
            </a:outerShdw>
          </a:effectLst>
        </p:grpSpPr>
        <p:sp>
          <p:nvSpPr>
            <p:cNvPr id="25" name="Freeform 27">
              <a:extLst>
                <a:ext uri="{FF2B5EF4-FFF2-40B4-BE49-F238E27FC236}">
                  <a16:creationId xmlns:a16="http://schemas.microsoft.com/office/drawing/2014/main" id="{6DB77FA5-6FF4-BA4A-AB19-0C46E3A6700E}"/>
                </a:ext>
              </a:extLst>
            </p:cNvPr>
            <p:cNvSpPr>
              <a:spLocks/>
            </p:cNvSpPr>
            <p:nvPr>
              <p:custDataLst>
                <p:tags r:id="rId10"/>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endParaRPr lang="en-US" sz="1372">
                <a:solidFill>
                  <a:prstClr val="white"/>
                </a:solidFill>
                <a:latin typeface="Calibri" panose="020F0502020204030204"/>
              </a:endParaRPr>
            </a:p>
          </p:txBody>
        </p:sp>
        <p:sp>
          <p:nvSpPr>
            <p:cNvPr id="26" name="Rectangle 28">
              <a:extLst>
                <a:ext uri="{FF2B5EF4-FFF2-40B4-BE49-F238E27FC236}">
                  <a16:creationId xmlns:a16="http://schemas.microsoft.com/office/drawing/2014/main" id="{E210093A-143B-9D4B-96B8-7E74F0649718}"/>
                </a:ext>
              </a:extLst>
            </p:cNvPr>
            <p:cNvSpPr>
              <a:spLocks noChangeArrowheads="1"/>
            </p:cNvSpPr>
            <p:nvPr>
              <p:custDataLst>
                <p:tags r:id="rId11"/>
              </p:custDataLst>
            </p:nvPr>
          </p:nvSpPr>
          <p:spPr bwMode="gray">
            <a:xfrm>
              <a:off x="384" y="994"/>
              <a:ext cx="634"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defTabSz="877443" fontAlgn="auto">
                <a:spcBef>
                  <a:spcPts val="0"/>
                </a:spcBef>
                <a:spcAft>
                  <a:spcPts val="0"/>
                </a:spcAft>
                <a:buClr>
                  <a:srgbClr val="352A49"/>
                </a:buClr>
                <a:buSzPct val="80000"/>
              </a:pPr>
              <a:r>
                <a:rPr lang="en-US" sz="1372" b="1" u="sng" dirty="0">
                  <a:solidFill>
                    <a:prstClr val="white"/>
                  </a:solidFill>
                  <a:cs typeface="Arial" charset="0"/>
                </a:rPr>
                <a:t>S</a:t>
              </a:r>
              <a:r>
                <a:rPr lang="en-US" sz="1372" b="1" dirty="0">
                  <a:solidFill>
                    <a:prstClr val="white"/>
                  </a:solidFill>
                  <a:cs typeface="Arial" charset="0"/>
                </a:rPr>
                <a:t>pecific</a:t>
              </a:r>
              <a:r>
                <a:rPr lang="en-US" sz="1372" dirty="0">
                  <a:solidFill>
                    <a:prstClr val="white"/>
                  </a:solidFill>
                  <a:cs typeface="Arial" charset="0"/>
                </a:rPr>
                <a:t>: who, what, when, where. Describes the process and not the desired end result. </a:t>
              </a:r>
            </a:p>
          </p:txBody>
        </p:sp>
      </p:grpSp>
      <p:sp>
        <p:nvSpPr>
          <p:cNvPr id="36" name="Freeform 12">
            <a:extLst>
              <a:ext uri="{FF2B5EF4-FFF2-40B4-BE49-F238E27FC236}">
                <a16:creationId xmlns:a16="http://schemas.microsoft.com/office/drawing/2014/main" id="{60FAB875-FE34-1D47-B8EC-42E35EE94112}"/>
              </a:ext>
            </a:extLst>
          </p:cNvPr>
          <p:cNvSpPr>
            <a:spLocks/>
          </p:cNvSpPr>
          <p:nvPr>
            <p:custDataLst>
              <p:tags r:id="rId6"/>
            </p:custDataLst>
          </p:nvPr>
        </p:nvSpPr>
        <p:spPr bwMode="gray">
          <a:xfrm>
            <a:off x="1476033" y="2611818"/>
            <a:ext cx="7133353" cy="981498"/>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r>
              <a:rPr lang="en-US" sz="1764" dirty="0">
                <a:solidFill>
                  <a:srgbClr val="000000"/>
                </a:solidFill>
                <a:latin typeface="Calibri" panose="020F0502020204030204"/>
              </a:rPr>
              <a:t>Regional Medical Store manager to submit an order to the Central Medical Store for </a:t>
            </a:r>
            <a:r>
              <a:rPr lang="en-US" sz="1764" dirty="0">
                <a:solidFill>
                  <a:prstClr val="black"/>
                </a:solidFill>
                <a:latin typeface="Calibri" panose="020F0502020204030204"/>
              </a:rPr>
              <a:t>3000 doses of primaquine for region A and deliver 1400 doses to District X and 1600 to District Y by 23 November 2021</a:t>
            </a:r>
          </a:p>
        </p:txBody>
      </p:sp>
      <p:sp>
        <p:nvSpPr>
          <p:cNvPr id="27" name="Freeform 12">
            <a:extLst>
              <a:ext uri="{FF2B5EF4-FFF2-40B4-BE49-F238E27FC236}">
                <a16:creationId xmlns:a16="http://schemas.microsoft.com/office/drawing/2014/main" id="{F72FBA95-6014-408D-90B2-F53D2231460D}"/>
              </a:ext>
            </a:extLst>
          </p:cNvPr>
          <p:cNvSpPr>
            <a:spLocks/>
          </p:cNvSpPr>
          <p:nvPr>
            <p:custDataLst>
              <p:tags r:id="rId7"/>
            </p:custDataLst>
          </p:nvPr>
        </p:nvSpPr>
        <p:spPr bwMode="gray">
          <a:xfrm>
            <a:off x="1476033" y="1866735"/>
            <a:ext cx="7133353" cy="607219"/>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r>
              <a:rPr lang="en-US" sz="1764" dirty="0">
                <a:solidFill>
                  <a:srgbClr val="000000"/>
                </a:solidFill>
                <a:latin typeface="Calibri" panose="020F0502020204030204"/>
              </a:rPr>
              <a:t>stockout of primaquine in Districts X and Y leading to low ACT treatment rate for confirmed cases </a:t>
            </a:r>
            <a:endParaRPr lang="en-US" sz="1764" dirty="0">
              <a:solidFill>
                <a:prstClr val="black"/>
              </a:solidFill>
              <a:latin typeface="Calibri" panose="020F0502020204030204"/>
            </a:endParaRPr>
          </a:p>
        </p:txBody>
      </p:sp>
      <p:sp>
        <p:nvSpPr>
          <p:cNvPr id="29" name="Freeform 23">
            <a:extLst>
              <a:ext uri="{FF2B5EF4-FFF2-40B4-BE49-F238E27FC236}">
                <a16:creationId xmlns:a16="http://schemas.microsoft.com/office/drawing/2014/main" id="{97667FF9-7A81-4835-805E-7AEACB276431}"/>
              </a:ext>
            </a:extLst>
          </p:cNvPr>
          <p:cNvSpPr>
            <a:spLocks/>
          </p:cNvSpPr>
          <p:nvPr>
            <p:custDataLst>
              <p:tags r:id="rId8"/>
            </p:custDataLst>
          </p:nvPr>
        </p:nvSpPr>
        <p:spPr bwMode="gray">
          <a:xfrm>
            <a:off x="321137" y="2611818"/>
            <a:ext cx="1086674" cy="989057"/>
          </a:xfrm>
          <a:prstGeom prst="rect">
            <a:avLst/>
          </a:prstGeom>
          <a:solidFill>
            <a:schemeClr val="accent3"/>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lgn="ctr" defTabSz="896112" fontAlgn="auto">
              <a:spcBef>
                <a:spcPts val="0"/>
              </a:spcBef>
              <a:spcAft>
                <a:spcPts val="0"/>
              </a:spcAft>
              <a:defRPr/>
            </a:pPr>
            <a:r>
              <a:rPr lang="en-US" sz="1372" dirty="0">
                <a:solidFill>
                  <a:prstClr val="white"/>
                </a:solidFill>
                <a:latin typeface="Calibri" panose="020F0502020204030204"/>
              </a:rPr>
              <a:t>SMART ACTION</a:t>
            </a:r>
          </a:p>
        </p:txBody>
      </p:sp>
      <p:sp>
        <p:nvSpPr>
          <p:cNvPr id="30" name="Freeform 23">
            <a:extLst>
              <a:ext uri="{FF2B5EF4-FFF2-40B4-BE49-F238E27FC236}">
                <a16:creationId xmlns:a16="http://schemas.microsoft.com/office/drawing/2014/main" id="{A933D7D7-E442-4A4D-A8D5-EDC1E2FEFA9A}"/>
              </a:ext>
            </a:extLst>
          </p:cNvPr>
          <p:cNvSpPr>
            <a:spLocks/>
          </p:cNvSpPr>
          <p:nvPr>
            <p:custDataLst>
              <p:tags r:id="rId9"/>
            </p:custDataLst>
          </p:nvPr>
        </p:nvSpPr>
        <p:spPr bwMode="gray">
          <a:xfrm>
            <a:off x="321136" y="1866735"/>
            <a:ext cx="1086674" cy="607219"/>
          </a:xfrm>
          <a:prstGeom prst="rect">
            <a:avLst/>
          </a:prstGeom>
          <a:solidFill>
            <a:schemeClr val="accent3"/>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r>
              <a:rPr lang="en-US" sz="1372" dirty="0">
                <a:solidFill>
                  <a:prstClr val="white"/>
                </a:solidFill>
                <a:latin typeface="Calibri" panose="020F0502020204030204"/>
              </a:rPr>
              <a:t>BOTTLENECK</a:t>
            </a:r>
          </a:p>
        </p:txBody>
      </p:sp>
      <p:sp>
        <p:nvSpPr>
          <p:cNvPr id="31" name="Title 1">
            <a:extLst>
              <a:ext uri="{FF2B5EF4-FFF2-40B4-BE49-F238E27FC236}">
                <a16:creationId xmlns:a16="http://schemas.microsoft.com/office/drawing/2014/main" id="{CC48F00D-B11D-4C93-AB2A-BDDEA9E85F43}"/>
              </a:ext>
            </a:extLst>
          </p:cNvPr>
          <p:cNvSpPr txBox="1">
            <a:spLocks/>
          </p:cNvSpPr>
          <p:nvPr/>
        </p:nvSpPr>
        <p:spPr>
          <a:xfrm>
            <a:off x="310464" y="3731821"/>
            <a:ext cx="8065294" cy="4343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GB" sz="3136" dirty="0">
                <a:solidFill>
                  <a:srgbClr val="38529C"/>
                </a:solidFill>
              </a:rPr>
              <a:t>Why is this a SMART action?</a:t>
            </a:r>
          </a:p>
        </p:txBody>
      </p:sp>
    </p:spTree>
    <p:extLst>
      <p:ext uri="{BB962C8B-B14F-4D97-AF65-F5344CB8AC3E}">
        <p14:creationId xmlns:p14="http://schemas.microsoft.com/office/powerpoint/2010/main" val="13017377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1329595"/>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a:t>Once a problem has been identified on the scorecard, generate clear action item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How to create SMART actions</a:t>
            </a:r>
          </a:p>
        </p:txBody>
      </p:sp>
      <p:graphicFrame>
        <p:nvGraphicFramePr>
          <p:cNvPr id="40" name="Table 39">
            <a:extLst>
              <a:ext uri="{FF2B5EF4-FFF2-40B4-BE49-F238E27FC236}">
                <a16:creationId xmlns:a16="http://schemas.microsoft.com/office/drawing/2014/main" id="{CEB71251-A04A-A644-A98B-DEB57EBA3B0F}"/>
              </a:ext>
            </a:extLst>
          </p:cNvPr>
          <p:cNvGraphicFramePr>
            <a:graphicFrameLocks noGrp="1"/>
          </p:cNvGraphicFramePr>
          <p:nvPr/>
        </p:nvGraphicFramePr>
        <p:xfrm>
          <a:off x="448072" y="1695109"/>
          <a:ext cx="8065295" cy="4902260"/>
        </p:xfrm>
        <a:graphic>
          <a:graphicData uri="http://schemas.openxmlformats.org/drawingml/2006/table">
            <a:tbl>
              <a:tblPr firstRow="1" firstCol="1" bandRow="1">
                <a:tableStyleId>{C083E6E3-FA7D-4D7B-A595-EF9225AFEA82}</a:tableStyleId>
              </a:tblPr>
              <a:tblGrid>
                <a:gridCol w="2381856">
                  <a:extLst>
                    <a:ext uri="{9D8B030D-6E8A-4147-A177-3AD203B41FA5}">
                      <a16:colId xmlns:a16="http://schemas.microsoft.com/office/drawing/2014/main" val="1626781027"/>
                    </a:ext>
                  </a:extLst>
                </a:gridCol>
                <a:gridCol w="3077307">
                  <a:extLst>
                    <a:ext uri="{9D8B030D-6E8A-4147-A177-3AD203B41FA5}">
                      <a16:colId xmlns:a16="http://schemas.microsoft.com/office/drawing/2014/main" val="3864351043"/>
                    </a:ext>
                  </a:extLst>
                </a:gridCol>
                <a:gridCol w="2606132">
                  <a:extLst>
                    <a:ext uri="{9D8B030D-6E8A-4147-A177-3AD203B41FA5}">
                      <a16:colId xmlns:a16="http://schemas.microsoft.com/office/drawing/2014/main" val="893572735"/>
                    </a:ext>
                  </a:extLst>
                </a:gridCol>
              </a:tblGrid>
              <a:tr h="336113">
                <a:tc>
                  <a:txBody>
                    <a:bodyPr/>
                    <a:lstStyle/>
                    <a:p>
                      <a:endParaRPr lang="en-US" sz="1400" dirty="0">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tcPr>
                </a:tc>
                <a:tc>
                  <a:txBody>
                    <a:bodyPr/>
                    <a:lstStyle/>
                    <a:p>
                      <a:r>
                        <a:rPr lang="en-US" sz="1400" dirty="0">
                          <a:latin typeface="Arial" panose="020B0604020202020204" pitchFamily="34" charset="0"/>
                          <a:cs typeface="Arial" panose="020B0604020202020204" pitchFamily="34" charset="0"/>
                        </a:rPr>
                        <a:t>Good example</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latin typeface="Arial" panose="020B0604020202020204" pitchFamily="34" charset="0"/>
                          <a:cs typeface="Arial" panose="020B0604020202020204" pitchFamily="34" charset="0"/>
                        </a:rPr>
                        <a:t>Bad example</a:t>
                      </a:r>
                    </a:p>
                  </a:txBody>
                  <a:tcPr marL="89614" marR="89614" marT="63506" marB="63506">
                    <a:lnL w="12700" cap="flat" cmpd="sng" algn="ctr">
                      <a:solidFill>
                        <a:schemeClr val="accent3"/>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58275634"/>
                  </a:ext>
                </a:extLst>
              </a:tr>
              <a:tr h="963413">
                <a:tc>
                  <a:txBody>
                    <a:bodyPr/>
                    <a:lstStyle/>
                    <a:p>
                      <a:r>
                        <a:rPr lang="en-US" sz="1400" b="1" dirty="0">
                          <a:solidFill>
                            <a:schemeClr val="tx1"/>
                          </a:solidFill>
                          <a:latin typeface="Arial" panose="020B0604020202020204" pitchFamily="34" charset="0"/>
                          <a:cs typeface="Arial" panose="020B0604020202020204" pitchFamily="34" charset="0"/>
                        </a:rPr>
                        <a:t>Actions are specific: who, what, when, wher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400" dirty="0">
                          <a:solidFill>
                            <a:schemeClr val="tx1"/>
                          </a:solidFill>
                          <a:latin typeface="Arial" panose="020B0604020202020204" pitchFamily="34" charset="0"/>
                          <a:cs typeface="Arial" panose="020B0604020202020204" pitchFamily="34" charset="0"/>
                        </a:rPr>
                        <a:t>National M&amp;E coordinator should install 3 new computers with DHIS2 software in each regional health office by December 2021.</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dirty="0">
                          <a:solidFill>
                            <a:schemeClr val="tx1"/>
                          </a:solidFill>
                          <a:latin typeface="Arial" panose="020B0604020202020204" pitchFamily="34" charset="0"/>
                          <a:cs typeface="Arial" panose="020B0604020202020204" pitchFamily="34" charset="0"/>
                        </a:rPr>
                        <a:t>Improve quality of LMIS data</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3787484"/>
                  </a:ext>
                </a:extLst>
              </a:tr>
              <a:tr h="1172514">
                <a:tc>
                  <a:txBody>
                    <a:bodyPr/>
                    <a:lstStyle/>
                    <a:p>
                      <a:r>
                        <a:rPr lang="en-US" sz="1400" b="1" dirty="0">
                          <a:solidFill>
                            <a:schemeClr val="tx1"/>
                          </a:solidFill>
                          <a:latin typeface="Arial" panose="020B0604020202020204" pitchFamily="34" charset="0"/>
                          <a:cs typeface="Arial" panose="020B0604020202020204" pitchFamily="34" charset="0"/>
                        </a:rPr>
                        <a:t>Should describe the process of “how” to achieve the end objective. Should not be the end objectiv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400" dirty="0">
                          <a:solidFill>
                            <a:schemeClr val="tx1"/>
                          </a:solidFill>
                          <a:latin typeface="Arial" panose="020B0604020202020204" pitchFamily="34" charset="0"/>
                          <a:cs typeface="Arial" panose="020B0604020202020204" pitchFamily="34" charset="0"/>
                        </a:rPr>
                        <a:t>The NMCP programme manager will write a letter to the Global Fund country office petitioning emergency funds for 50,000 LLINs for Regions A, B, C.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dirty="0">
                          <a:solidFill>
                            <a:schemeClr val="tx1"/>
                          </a:solidFill>
                          <a:latin typeface="Arial" panose="020B0604020202020204" pitchFamily="34" charset="0"/>
                          <a:cs typeface="Arial" panose="020B0604020202020204" pitchFamily="34" charset="0"/>
                        </a:rPr>
                        <a:t>Procure 50,000 LLINs to increase coverage from 12% to 80%.</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2353510"/>
                  </a:ext>
                </a:extLst>
              </a:tr>
              <a:tr h="1172514">
                <a:tc>
                  <a:txBody>
                    <a:bodyPr/>
                    <a:lstStyle/>
                    <a:p>
                      <a:r>
                        <a:rPr lang="en-US" sz="1400" b="1" dirty="0">
                          <a:solidFill>
                            <a:schemeClr val="tx1"/>
                          </a:solidFill>
                          <a:latin typeface="Arial" panose="020B0604020202020204" pitchFamily="34" charset="0"/>
                          <a:cs typeface="Arial" panose="020B0604020202020204" pitchFamily="34" charset="0"/>
                        </a:rPr>
                        <a:t>It is clear who is responsible for the action and the person must be able to implement</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400" dirty="0">
                          <a:solidFill>
                            <a:schemeClr val="tx1"/>
                          </a:solidFill>
                          <a:latin typeface="Arial" panose="020B0604020202020204" pitchFamily="34" charset="0"/>
                          <a:cs typeface="Arial" panose="020B0604020202020204" pitchFamily="34" charset="0"/>
                        </a:rPr>
                        <a:t>Director of Maternal &amp; Newborn Health to establish a monthly forum to engage partners, </a:t>
                      </a:r>
                      <a:r>
                        <a:rPr lang="en-US" sz="1400" dirty="0" err="1">
                          <a:solidFill>
                            <a:schemeClr val="tx1"/>
                          </a:solidFill>
                          <a:latin typeface="Arial" panose="020B0604020202020204" pitchFamily="34" charset="0"/>
                          <a:cs typeface="Arial" panose="020B0604020202020204" pitchFamily="34" charset="0"/>
                        </a:rPr>
                        <a:t>mobilise</a:t>
                      </a:r>
                      <a:r>
                        <a:rPr lang="en-US" sz="1400" dirty="0">
                          <a:solidFill>
                            <a:schemeClr val="tx1"/>
                          </a:solidFill>
                          <a:latin typeface="Arial" panose="020B0604020202020204" pitchFamily="34" charset="0"/>
                          <a:cs typeface="Arial" panose="020B0604020202020204" pitchFamily="34" charset="0"/>
                        </a:rPr>
                        <a:t> funds and improve funding allocation to RMNCAH</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dirty="0">
                          <a:solidFill>
                            <a:schemeClr val="tx1"/>
                          </a:solidFill>
                          <a:latin typeface="Arial" panose="020B0604020202020204" pitchFamily="34" charset="0"/>
                          <a:cs typeface="Arial" panose="020B0604020202020204" pitchFamily="34" charset="0"/>
                        </a:rPr>
                        <a:t>Increase donor contribution to RMNCAH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9393756"/>
                  </a:ext>
                </a:extLst>
              </a:tr>
              <a:tr h="963413">
                <a:tc>
                  <a:txBody>
                    <a:bodyPr/>
                    <a:lstStyle/>
                    <a:p>
                      <a:r>
                        <a:rPr lang="en-US" sz="1400" b="1" dirty="0">
                          <a:solidFill>
                            <a:schemeClr val="tx1"/>
                          </a:solidFill>
                          <a:latin typeface="Arial" panose="020B0604020202020204" pitchFamily="34" charset="0"/>
                          <a:cs typeface="Arial" panose="020B0604020202020204" pitchFamily="34" charset="0"/>
                        </a:rPr>
                        <a:t>You can clearly monitor progress on the action using numbers where possibl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400" dirty="0">
                          <a:solidFill>
                            <a:schemeClr val="tx1"/>
                          </a:solidFill>
                          <a:latin typeface="Arial" panose="020B0604020202020204" pitchFamily="34" charset="0"/>
                          <a:cs typeface="Arial" panose="020B0604020202020204" pitchFamily="34" charset="0"/>
                        </a:rPr>
                        <a:t>District Health Directorate should organize community durbars in all 5 communities of District X, to </a:t>
                      </a:r>
                      <a:r>
                        <a:rPr lang="en-US" sz="1400" dirty="0" err="1">
                          <a:solidFill>
                            <a:schemeClr val="tx1"/>
                          </a:solidFill>
                          <a:latin typeface="Arial" panose="020B0604020202020204" pitchFamily="34" charset="0"/>
                          <a:cs typeface="Arial" panose="020B0604020202020204" pitchFamily="34" charset="0"/>
                        </a:rPr>
                        <a:t>sensitise</a:t>
                      </a:r>
                      <a:r>
                        <a:rPr lang="en-US" sz="1400" dirty="0">
                          <a:solidFill>
                            <a:schemeClr val="tx1"/>
                          </a:solidFill>
                          <a:latin typeface="Arial" panose="020B0604020202020204" pitchFamily="34" charset="0"/>
                          <a:cs typeface="Arial" panose="020B0604020202020204" pitchFamily="34" charset="0"/>
                        </a:rPr>
                        <a:t> them on the upcoming IRS campaign</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dirty="0">
                          <a:solidFill>
                            <a:schemeClr val="tx1"/>
                          </a:solidFill>
                          <a:latin typeface="Arial" panose="020B0604020202020204" pitchFamily="34" charset="0"/>
                          <a:cs typeface="Arial" panose="020B0604020202020204" pitchFamily="34" charset="0"/>
                        </a:rPr>
                        <a:t>Ensure communities are sensitized for the upcoming IRS campaign</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417451"/>
                  </a:ext>
                </a:extLst>
              </a:tr>
            </a:tbl>
          </a:graphicData>
        </a:graphic>
      </p:graphicFrame>
      <p:pic>
        <p:nvPicPr>
          <p:cNvPr id="41" name="Picture 29" descr="Symbol-Delete">
            <a:extLst>
              <a:ext uri="{FF2B5EF4-FFF2-40B4-BE49-F238E27FC236}">
                <a16:creationId xmlns:a16="http://schemas.microsoft.com/office/drawing/2014/main" id="{86136D1B-4504-1240-B5FA-6CF9B857FCE5}"/>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8051993" y="1665989"/>
            <a:ext cx="376026" cy="37602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0" descr="Symbol-Check">
            <a:extLst>
              <a:ext uri="{FF2B5EF4-FFF2-40B4-BE49-F238E27FC236}">
                <a16:creationId xmlns:a16="http://schemas.microsoft.com/office/drawing/2014/main" id="{38CC37B5-0AC1-6340-9657-52B5AC8BE51E}"/>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5329221" y="1636696"/>
            <a:ext cx="376026" cy="376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93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530" y="398"/>
          <a:ext cx="158730" cy="158730"/>
        </p:xfrm>
        <a:graphic>
          <a:graphicData uri="http://schemas.openxmlformats.org/presentationml/2006/ole">
            <mc:AlternateContent xmlns:mc="http://schemas.openxmlformats.org/markup-compatibility/2006">
              <mc:Choice xmlns:v="urn:schemas-microsoft-com:vml" Requires="v">
                <p:oleObj name="think-cell Slide" r:id="rId45" imgW="360" imgH="360" progId="">
                  <p:embed/>
                </p:oleObj>
              </mc:Choice>
              <mc:Fallback>
                <p:oleObj name="think-cell Slide" r:id="rId45" imgW="360" imgH="360" progId="">
                  <p:embed/>
                  <p:pic>
                    <p:nvPicPr>
                      <p:cNvPr id="18" name="Object 17"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530" y="398"/>
                        <a:ext cx="158730"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Box 6"/>
          <p:cNvSpPr txBox="1">
            <a:spLocks/>
          </p:cNvSpPr>
          <p:nvPr>
            <p:custDataLst>
              <p:tags r:id="rId2"/>
            </p:custDataLst>
          </p:nvPr>
        </p:nvSpPr>
        <p:spPr bwMode="gray">
          <a:xfrm>
            <a:off x="219097" y="876595"/>
            <a:ext cx="8523249" cy="5295275"/>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vert="horz" lIns="76192" tIns="76192" rIns="76192" bIns="76192" rtlCol="0" anchor="t" anchorCtr="0">
            <a:noAutofit/>
          </a:bodyPr>
          <a:lstStyle>
            <a:defPPr>
              <a:defRPr lang="en-US"/>
            </a:defPPr>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buClr>
                <a:srgbClr val="002960"/>
              </a:buClr>
            </a:pPr>
            <a:endParaRPr lang="en-US" sz="1598" dirty="0">
              <a:solidFill>
                <a:srgbClr val="000000"/>
              </a:solidFill>
              <a:latin typeface="Arial"/>
            </a:endParaRPr>
          </a:p>
        </p:txBody>
      </p:sp>
      <p:sp>
        <p:nvSpPr>
          <p:cNvPr id="38" name="TextBox 6"/>
          <p:cNvSpPr txBox="1">
            <a:spLocks/>
          </p:cNvSpPr>
          <p:nvPr>
            <p:custDataLst>
              <p:tags r:id="rId3"/>
            </p:custDataLst>
          </p:nvPr>
        </p:nvSpPr>
        <p:spPr bwMode="gray">
          <a:xfrm>
            <a:off x="219095" y="1978743"/>
            <a:ext cx="8450381" cy="3154222"/>
          </a:xfrm>
          <a:prstGeom prst="rect">
            <a:avLst/>
          </a:prstGeom>
          <a:solidFill>
            <a:schemeClr val="bg2">
              <a:lumMod val="95000"/>
            </a:schemeClr>
          </a:solidFill>
          <a:ln>
            <a:noFill/>
          </a:ln>
          <a:effectLst/>
        </p:spPr>
        <p:txBody>
          <a:bodyPr vert="horz" lIns="76192" tIns="76192" rIns="76192" bIns="76192" rtlCol="0" anchor="t" anchorCtr="0">
            <a:noAutofit/>
          </a:bodyPr>
          <a:lstStyle>
            <a:defPPr>
              <a:defRPr lang="en-US"/>
            </a:defPPr>
            <a:lvl1pPr marL="0" lvl="0" indent="0" defTabSz="895350" eaLnBrk="0" hangingPunct="0">
              <a:buClr>
                <a:schemeClr val="tx2"/>
              </a:buClr>
              <a:buFontTx/>
              <a:buNone/>
              <a:defRPr sz="1300">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buClr>
                <a:srgbClr val="002960"/>
              </a:buClr>
            </a:pPr>
            <a:endParaRPr lang="en-US" sz="1299" dirty="0">
              <a:solidFill>
                <a:srgbClr val="000000"/>
              </a:solidFill>
              <a:latin typeface="Arial"/>
            </a:endParaRPr>
          </a:p>
        </p:txBody>
      </p:sp>
      <p:sp>
        <p:nvSpPr>
          <p:cNvPr id="2" name="Title 1"/>
          <p:cNvSpPr>
            <a:spLocks noGrp="1"/>
          </p:cNvSpPr>
          <p:nvPr>
            <p:ph type="title"/>
            <p:custDataLst>
              <p:tags r:id="rId4"/>
            </p:custDataLst>
          </p:nvPr>
        </p:nvSpPr>
        <p:spPr bwMode="gray">
          <a:xfrm>
            <a:off x="312524" y="172739"/>
            <a:ext cx="6100263" cy="58491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588"/>
            <a:r>
              <a:rPr lang="en-US" dirty="0"/>
              <a:t>Action Tracker: Actions can be assigned and progress tracked on the scorecard web platform</a:t>
            </a:r>
          </a:p>
        </p:txBody>
      </p:sp>
      <p:sp>
        <p:nvSpPr>
          <p:cNvPr id="40" name="Freeform 39"/>
          <p:cNvSpPr/>
          <p:nvPr>
            <p:custDataLst>
              <p:tags r:id="rId5"/>
            </p:custDataLst>
          </p:nvPr>
        </p:nvSpPr>
        <p:spPr bwMode="gray">
          <a:xfrm flipH="1">
            <a:off x="4764463" y="1518494"/>
            <a:ext cx="509982" cy="368992"/>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2" name="Rectangle 32"/>
          <p:cNvSpPr txBox="1">
            <a:spLocks/>
          </p:cNvSpPr>
          <p:nvPr>
            <p:custDataLst>
              <p:tags r:id="rId6"/>
            </p:custDataLst>
          </p:nvPr>
        </p:nvSpPr>
        <p:spPr bwMode="gray">
          <a:xfrm>
            <a:off x="5219614" y="990244"/>
            <a:ext cx="2260278" cy="1006316"/>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sp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List of action items, a field showing color-coded implementation status, due date, and owner</a:t>
            </a:r>
          </a:p>
        </p:txBody>
      </p:sp>
      <p:grpSp>
        <p:nvGrpSpPr>
          <p:cNvPr id="58" name="Group 57"/>
          <p:cNvGrpSpPr/>
          <p:nvPr/>
        </p:nvGrpSpPr>
        <p:grpSpPr>
          <a:xfrm>
            <a:off x="301356" y="2122270"/>
            <a:ext cx="8368120" cy="2718748"/>
            <a:chOff x="60925" y="1181761"/>
            <a:chExt cx="8760957" cy="2719069"/>
          </a:xfrm>
        </p:grpSpPr>
        <p:pic>
          <p:nvPicPr>
            <p:cNvPr id="59" name="Picture 58" descr="Screen Clipping"/>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73157" y="1181761"/>
              <a:ext cx="8748725" cy="2719069"/>
            </a:xfrm>
            <a:prstGeom prst="rect">
              <a:avLst/>
            </a:prstGeom>
          </p:spPr>
        </p:pic>
        <p:grpSp>
          <p:nvGrpSpPr>
            <p:cNvPr id="60" name="Group 59"/>
            <p:cNvGrpSpPr/>
            <p:nvPr/>
          </p:nvGrpSpPr>
          <p:grpSpPr>
            <a:xfrm>
              <a:off x="60925" y="1621892"/>
              <a:ext cx="8676677" cy="2262296"/>
              <a:chOff x="60925" y="1621892"/>
              <a:chExt cx="8676677" cy="2262296"/>
            </a:xfrm>
          </p:grpSpPr>
          <p:sp>
            <p:nvSpPr>
              <p:cNvPr id="61" name="TextBox 8"/>
              <p:cNvSpPr txBox="1"/>
              <p:nvPr>
                <p:custDataLst>
                  <p:tags r:id="rId13"/>
                </p:custDataLst>
              </p:nvPr>
            </p:nvSpPr>
            <p:spPr>
              <a:xfrm>
                <a:off x="72617" y="1708028"/>
                <a:ext cx="591584" cy="418602"/>
              </a:xfrm>
              <a:prstGeom prst="rect">
                <a:avLst/>
              </a:prstGeom>
              <a:solidFill>
                <a:srgbClr val="FFFFFF"/>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Province 2</a:t>
                </a:r>
              </a:p>
            </p:txBody>
          </p:sp>
          <p:sp>
            <p:nvSpPr>
              <p:cNvPr id="62" name="TextBox 8"/>
              <p:cNvSpPr txBox="1"/>
              <p:nvPr>
                <p:custDataLst>
                  <p:tags r:id="rId14"/>
                </p:custDataLst>
              </p:nvPr>
            </p:nvSpPr>
            <p:spPr>
              <a:xfrm>
                <a:off x="60925" y="3177813"/>
                <a:ext cx="591584" cy="418602"/>
              </a:xfrm>
              <a:prstGeom prst="rect">
                <a:avLst/>
              </a:prstGeom>
              <a:solidFill>
                <a:srgbClr val="FFFFFF"/>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Province 3</a:t>
                </a:r>
              </a:p>
            </p:txBody>
          </p:sp>
          <p:sp>
            <p:nvSpPr>
              <p:cNvPr id="63" name="TextBox 8"/>
              <p:cNvSpPr txBox="1"/>
              <p:nvPr>
                <p:custDataLst>
                  <p:tags r:id="rId15"/>
                </p:custDataLst>
              </p:nvPr>
            </p:nvSpPr>
            <p:spPr>
              <a:xfrm>
                <a:off x="76535" y="2411828"/>
                <a:ext cx="566139" cy="418602"/>
              </a:xfrm>
              <a:prstGeom prst="rect">
                <a:avLst/>
              </a:prstGeom>
              <a:solidFill>
                <a:srgbClr val="F2F2F2"/>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700" dirty="0">
                    <a:solidFill>
                      <a:prstClr val="black"/>
                    </a:solidFill>
                    <a:latin typeface="Arial"/>
                  </a:rPr>
                  <a:t>District A</a:t>
                </a:r>
              </a:p>
            </p:txBody>
          </p:sp>
          <p:sp>
            <p:nvSpPr>
              <p:cNvPr id="64" name="TextBox 8"/>
              <p:cNvSpPr txBox="1"/>
              <p:nvPr>
                <p:custDataLst>
                  <p:tags r:id="rId16"/>
                </p:custDataLst>
              </p:nvPr>
            </p:nvSpPr>
            <p:spPr>
              <a:xfrm>
                <a:off x="1586518" y="1640613"/>
                <a:ext cx="2576593" cy="67298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Hire three M&amp;E staff members on temporary basis to clear backlog of HMIS records</a:t>
                </a:r>
              </a:p>
            </p:txBody>
          </p:sp>
          <p:sp>
            <p:nvSpPr>
              <p:cNvPr id="65" name="TextBox 8"/>
              <p:cNvSpPr txBox="1"/>
              <p:nvPr>
                <p:custDataLst>
                  <p:tags r:id="rId17"/>
                </p:custDataLst>
              </p:nvPr>
            </p:nvSpPr>
            <p:spPr>
              <a:xfrm>
                <a:off x="1586518" y="2429401"/>
                <a:ext cx="2559101" cy="63699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Improve timeliness and quality of data by retraining PHU workers in data management</a:t>
                </a:r>
              </a:p>
            </p:txBody>
          </p:sp>
          <p:sp>
            <p:nvSpPr>
              <p:cNvPr id="66" name="TextBox 8"/>
              <p:cNvSpPr txBox="1"/>
              <p:nvPr>
                <p:custDataLst>
                  <p:tags r:id="rId18"/>
                </p:custDataLst>
              </p:nvPr>
            </p:nvSpPr>
            <p:spPr>
              <a:xfrm>
                <a:off x="1586518" y="3210572"/>
                <a:ext cx="2559101" cy="655127"/>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Implement excusive breastfeeding for 6 months program at PHUs and conduct community outreach campaign to raise awareness of EBF</a:t>
                </a:r>
              </a:p>
            </p:txBody>
          </p:sp>
          <p:sp>
            <p:nvSpPr>
              <p:cNvPr id="67" name="TextBox 8"/>
              <p:cNvSpPr txBox="1"/>
              <p:nvPr>
                <p:custDataLst>
                  <p:tags r:id="rId19"/>
                </p:custDataLst>
              </p:nvPr>
            </p:nvSpPr>
            <p:spPr>
              <a:xfrm>
                <a:off x="867740" y="1658178"/>
                <a:ext cx="465760" cy="67298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M&amp;E</a:t>
                </a:r>
              </a:p>
            </p:txBody>
          </p:sp>
          <p:sp>
            <p:nvSpPr>
              <p:cNvPr id="68" name="TextBox 8"/>
              <p:cNvSpPr txBox="1"/>
              <p:nvPr>
                <p:custDataLst>
                  <p:tags r:id="rId20"/>
                </p:custDataLst>
              </p:nvPr>
            </p:nvSpPr>
            <p:spPr>
              <a:xfrm>
                <a:off x="856221" y="3133903"/>
                <a:ext cx="659524" cy="655127"/>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Newborn health</a:t>
                </a:r>
              </a:p>
            </p:txBody>
          </p:sp>
          <p:sp>
            <p:nvSpPr>
              <p:cNvPr id="69" name="TextBox 8"/>
              <p:cNvSpPr txBox="1"/>
              <p:nvPr>
                <p:custDataLst>
                  <p:tags r:id="rId21"/>
                </p:custDataLst>
              </p:nvPr>
            </p:nvSpPr>
            <p:spPr>
              <a:xfrm>
                <a:off x="4895850" y="1623824"/>
                <a:ext cx="676275" cy="724902"/>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15/12/2016</a:t>
                </a:r>
              </a:p>
            </p:txBody>
          </p:sp>
          <p:sp>
            <p:nvSpPr>
              <p:cNvPr id="70" name="TextBox 8"/>
              <p:cNvSpPr txBox="1"/>
              <p:nvPr>
                <p:custDataLst>
                  <p:tags r:id="rId22"/>
                </p:custDataLst>
              </p:nvPr>
            </p:nvSpPr>
            <p:spPr>
              <a:xfrm>
                <a:off x="4905452" y="3177813"/>
                <a:ext cx="655761" cy="639000"/>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30/09/2016</a:t>
                </a:r>
              </a:p>
            </p:txBody>
          </p:sp>
          <p:sp>
            <p:nvSpPr>
              <p:cNvPr id="71" name="TextBox 8"/>
              <p:cNvSpPr txBox="1"/>
              <p:nvPr>
                <p:custDataLst>
                  <p:tags r:id="rId23"/>
                </p:custDataLst>
              </p:nvPr>
            </p:nvSpPr>
            <p:spPr>
              <a:xfrm>
                <a:off x="4229698" y="3157583"/>
                <a:ext cx="676275" cy="708113"/>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30/03/2016</a:t>
                </a:r>
              </a:p>
            </p:txBody>
          </p:sp>
          <p:sp>
            <p:nvSpPr>
              <p:cNvPr id="72" name="TextBox 8"/>
              <p:cNvSpPr txBox="1"/>
              <p:nvPr>
                <p:custDataLst>
                  <p:tags r:id="rId24"/>
                </p:custDataLst>
              </p:nvPr>
            </p:nvSpPr>
            <p:spPr>
              <a:xfrm>
                <a:off x="4149728" y="1658178"/>
                <a:ext cx="676275" cy="690547"/>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15/12/2016</a:t>
                </a:r>
              </a:p>
            </p:txBody>
          </p:sp>
          <p:sp>
            <p:nvSpPr>
              <p:cNvPr id="73" name="TextBox 8"/>
              <p:cNvSpPr txBox="1"/>
              <p:nvPr>
                <p:custDataLst>
                  <p:tags r:id="rId25"/>
                </p:custDataLst>
              </p:nvPr>
            </p:nvSpPr>
            <p:spPr>
              <a:xfrm>
                <a:off x="4224236" y="2434460"/>
                <a:ext cx="631605" cy="62687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600" dirty="0">
                    <a:solidFill>
                      <a:prstClr val="black"/>
                    </a:solidFill>
                    <a:latin typeface="Arial"/>
                  </a:rPr>
                  <a:t>25/10/2016</a:t>
                </a:r>
              </a:p>
            </p:txBody>
          </p:sp>
          <p:sp>
            <p:nvSpPr>
              <p:cNvPr id="74" name="TextBox 8"/>
              <p:cNvSpPr txBox="1"/>
              <p:nvPr>
                <p:custDataLst>
                  <p:tags r:id="rId26"/>
                </p:custDataLst>
              </p:nvPr>
            </p:nvSpPr>
            <p:spPr>
              <a:xfrm>
                <a:off x="6445939" y="1640611"/>
                <a:ext cx="1066800" cy="708113"/>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endParaRPr lang="en-US" sz="600" dirty="0">
                  <a:solidFill>
                    <a:prstClr val="black"/>
                  </a:solidFill>
                  <a:latin typeface="Arial"/>
                </a:endParaRPr>
              </a:p>
            </p:txBody>
          </p:sp>
          <p:sp>
            <p:nvSpPr>
              <p:cNvPr id="75" name="TextBox 8"/>
              <p:cNvSpPr txBox="1"/>
              <p:nvPr>
                <p:custDataLst>
                  <p:tags r:id="rId27"/>
                </p:custDataLst>
              </p:nvPr>
            </p:nvSpPr>
            <p:spPr>
              <a:xfrm>
                <a:off x="7534803" y="1672267"/>
                <a:ext cx="704879" cy="641328"/>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User 1</a:t>
                </a:r>
              </a:p>
            </p:txBody>
          </p:sp>
          <p:sp>
            <p:nvSpPr>
              <p:cNvPr id="76" name="TextBox 8"/>
              <p:cNvSpPr txBox="1"/>
              <p:nvPr>
                <p:custDataLst>
                  <p:tags r:id="rId28"/>
                </p:custDataLst>
              </p:nvPr>
            </p:nvSpPr>
            <p:spPr>
              <a:xfrm>
                <a:off x="4876800" y="2366291"/>
                <a:ext cx="695325" cy="748964"/>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600" dirty="0">
                    <a:solidFill>
                      <a:prstClr val="black"/>
                    </a:solidFill>
                    <a:latin typeface="Arial"/>
                  </a:rPr>
                  <a:t>25/11/2016</a:t>
                </a:r>
              </a:p>
            </p:txBody>
          </p:sp>
          <p:sp>
            <p:nvSpPr>
              <p:cNvPr id="77" name="TextBox 14"/>
              <p:cNvSpPr txBox="1"/>
              <p:nvPr>
                <p:custDataLst>
                  <p:tags r:id="rId29"/>
                </p:custDataLst>
              </p:nvPr>
            </p:nvSpPr>
            <p:spPr>
              <a:xfrm>
                <a:off x="5594190" y="2366291"/>
                <a:ext cx="808861" cy="739247"/>
              </a:xfrm>
              <a:prstGeom prst="rect">
                <a:avLst/>
              </a:prstGeom>
              <a:solidFill>
                <a:srgbClr val="FF0000"/>
              </a:solidFill>
              <a:ln>
                <a:noFill/>
              </a:ln>
            </p:spPr>
            <p:txBody>
              <a:bodyPr vert="horz" lIns="76192" tIns="76192" rIns="76192" bIns="76192"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endParaRPr lang="en-US" dirty="0">
                  <a:solidFill>
                    <a:prstClr val="black"/>
                  </a:solidFill>
                  <a:latin typeface="Arial"/>
                </a:endParaRPr>
              </a:p>
            </p:txBody>
          </p:sp>
          <p:sp>
            <p:nvSpPr>
              <p:cNvPr id="78" name="TextBox 8"/>
              <p:cNvSpPr txBox="1"/>
              <p:nvPr>
                <p:custDataLst>
                  <p:tags r:id="rId30"/>
                </p:custDataLst>
              </p:nvPr>
            </p:nvSpPr>
            <p:spPr>
              <a:xfrm>
                <a:off x="5623054" y="2491136"/>
                <a:ext cx="680252" cy="426390"/>
              </a:xfrm>
              <a:prstGeom prst="rect">
                <a:avLst/>
              </a:prstGeom>
              <a:no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No progress</a:t>
                </a:r>
              </a:p>
            </p:txBody>
          </p:sp>
          <p:sp>
            <p:nvSpPr>
              <p:cNvPr id="79" name="TextBox 14"/>
              <p:cNvSpPr txBox="1"/>
              <p:nvPr>
                <p:custDataLst>
                  <p:tags r:id="rId31"/>
                </p:custDataLst>
              </p:nvPr>
            </p:nvSpPr>
            <p:spPr>
              <a:xfrm>
                <a:off x="5561213" y="3115255"/>
                <a:ext cx="841838" cy="768933"/>
              </a:xfrm>
              <a:prstGeom prst="rect">
                <a:avLst/>
              </a:prstGeom>
              <a:solidFill>
                <a:srgbClr val="FFFF00"/>
              </a:solidFill>
              <a:ln>
                <a:noFill/>
              </a:ln>
            </p:spPr>
            <p:txBody>
              <a:bodyPr vert="horz" lIns="76192" tIns="76192" rIns="76192" bIns="76192"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endParaRPr lang="en-US" dirty="0">
                  <a:solidFill>
                    <a:prstClr val="black"/>
                  </a:solidFill>
                  <a:latin typeface="Arial"/>
                </a:endParaRPr>
              </a:p>
            </p:txBody>
          </p:sp>
          <p:sp>
            <p:nvSpPr>
              <p:cNvPr id="80" name="TextBox 8"/>
              <p:cNvSpPr txBox="1"/>
              <p:nvPr>
                <p:custDataLst>
                  <p:tags r:id="rId32"/>
                </p:custDataLst>
              </p:nvPr>
            </p:nvSpPr>
            <p:spPr>
              <a:xfrm>
                <a:off x="5590386" y="3262829"/>
                <a:ext cx="763902" cy="397276"/>
              </a:xfrm>
              <a:prstGeom prst="rect">
                <a:avLst/>
              </a:prstGeom>
              <a:no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Some progress</a:t>
                </a:r>
              </a:p>
            </p:txBody>
          </p:sp>
          <p:sp>
            <p:nvSpPr>
              <p:cNvPr id="81" name="TextBox 14"/>
              <p:cNvSpPr txBox="1"/>
              <p:nvPr>
                <p:custDataLst>
                  <p:tags r:id="rId33"/>
                </p:custDataLst>
              </p:nvPr>
            </p:nvSpPr>
            <p:spPr>
              <a:xfrm>
                <a:off x="5572125" y="1621892"/>
                <a:ext cx="830926" cy="718023"/>
              </a:xfrm>
              <a:prstGeom prst="rect">
                <a:avLst/>
              </a:prstGeom>
              <a:solidFill>
                <a:srgbClr val="00B050"/>
              </a:solidFill>
              <a:ln>
                <a:noFill/>
              </a:ln>
            </p:spPr>
            <p:txBody>
              <a:bodyPr vert="horz" lIns="76192" tIns="76192" rIns="76192" bIns="76192"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endParaRPr lang="en-US" dirty="0">
                  <a:solidFill>
                    <a:prstClr val="black"/>
                  </a:solidFill>
                  <a:latin typeface="Arial"/>
                </a:endParaRPr>
              </a:p>
            </p:txBody>
          </p:sp>
          <p:sp>
            <p:nvSpPr>
              <p:cNvPr id="82" name="TextBox 8"/>
              <p:cNvSpPr txBox="1"/>
              <p:nvPr>
                <p:custDataLst>
                  <p:tags r:id="rId34"/>
                </p:custDataLst>
              </p:nvPr>
            </p:nvSpPr>
            <p:spPr>
              <a:xfrm>
                <a:off x="5623054" y="1756503"/>
                <a:ext cx="680252" cy="426390"/>
              </a:xfrm>
              <a:prstGeom prst="rect">
                <a:avLst/>
              </a:prstGeom>
              <a:no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Action achieved</a:t>
                </a:r>
              </a:p>
            </p:txBody>
          </p:sp>
          <p:sp>
            <p:nvSpPr>
              <p:cNvPr id="83" name="TextBox 8"/>
              <p:cNvSpPr txBox="1"/>
              <p:nvPr>
                <p:custDataLst>
                  <p:tags r:id="rId35"/>
                </p:custDataLst>
              </p:nvPr>
            </p:nvSpPr>
            <p:spPr>
              <a:xfrm>
                <a:off x="817550" y="2411828"/>
                <a:ext cx="566139" cy="418602"/>
              </a:xfrm>
              <a:prstGeom prst="rect">
                <a:avLst/>
              </a:prstGeom>
              <a:solidFill>
                <a:srgbClr val="F2F2F2"/>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M&amp;E</a:t>
                </a:r>
              </a:p>
            </p:txBody>
          </p:sp>
          <p:sp>
            <p:nvSpPr>
              <p:cNvPr id="84" name="TextBox 8"/>
              <p:cNvSpPr txBox="1"/>
              <p:nvPr>
                <p:custDataLst>
                  <p:tags r:id="rId36"/>
                </p:custDataLst>
              </p:nvPr>
            </p:nvSpPr>
            <p:spPr>
              <a:xfrm>
                <a:off x="8311359" y="1697679"/>
                <a:ext cx="359582" cy="53457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800" dirty="0">
                    <a:solidFill>
                      <a:prstClr val="black"/>
                    </a:solidFill>
                    <a:latin typeface="Arial"/>
                  </a:rPr>
                  <a:t>1</a:t>
                </a:r>
              </a:p>
            </p:txBody>
          </p:sp>
          <p:sp>
            <p:nvSpPr>
              <p:cNvPr id="85" name="TextBox 8"/>
              <p:cNvSpPr txBox="1"/>
              <p:nvPr>
                <p:custDataLst>
                  <p:tags r:id="rId37"/>
                </p:custDataLst>
              </p:nvPr>
            </p:nvSpPr>
            <p:spPr>
              <a:xfrm>
                <a:off x="8322162" y="2429401"/>
                <a:ext cx="415440" cy="62687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800" dirty="0">
                    <a:solidFill>
                      <a:prstClr val="black"/>
                    </a:solidFill>
                    <a:latin typeface="Arial"/>
                  </a:rPr>
                  <a:t>2</a:t>
                </a:r>
              </a:p>
            </p:txBody>
          </p:sp>
          <p:sp>
            <p:nvSpPr>
              <p:cNvPr id="86" name="TextBox 8"/>
              <p:cNvSpPr txBox="1"/>
              <p:nvPr>
                <p:custDataLst>
                  <p:tags r:id="rId38"/>
                </p:custDataLst>
              </p:nvPr>
            </p:nvSpPr>
            <p:spPr>
              <a:xfrm>
                <a:off x="7534803" y="3165897"/>
                <a:ext cx="704879" cy="641328"/>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User 4</a:t>
                </a:r>
              </a:p>
            </p:txBody>
          </p:sp>
          <p:sp>
            <p:nvSpPr>
              <p:cNvPr id="87" name="TextBox 8"/>
              <p:cNvSpPr txBox="1"/>
              <p:nvPr>
                <p:custDataLst>
                  <p:tags r:id="rId39"/>
                </p:custDataLst>
              </p:nvPr>
            </p:nvSpPr>
            <p:spPr>
              <a:xfrm>
                <a:off x="7542723" y="2429401"/>
                <a:ext cx="661444" cy="62687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Admin 3</a:t>
                </a:r>
              </a:p>
            </p:txBody>
          </p:sp>
          <p:sp>
            <p:nvSpPr>
              <p:cNvPr id="88" name="TextBox 8"/>
              <p:cNvSpPr txBox="1"/>
              <p:nvPr>
                <p:custDataLst>
                  <p:tags r:id="rId40"/>
                </p:custDataLst>
              </p:nvPr>
            </p:nvSpPr>
            <p:spPr>
              <a:xfrm>
                <a:off x="8311359" y="3155786"/>
                <a:ext cx="359582" cy="53457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800" dirty="0">
                    <a:solidFill>
                      <a:prstClr val="black"/>
                    </a:solidFill>
                    <a:latin typeface="Arial"/>
                  </a:rPr>
                  <a:t>0</a:t>
                </a:r>
              </a:p>
            </p:txBody>
          </p:sp>
          <p:sp>
            <p:nvSpPr>
              <p:cNvPr id="89" name="TextBox 8"/>
              <p:cNvSpPr txBox="1"/>
              <p:nvPr>
                <p:custDataLst>
                  <p:tags r:id="rId41"/>
                </p:custDataLst>
              </p:nvPr>
            </p:nvSpPr>
            <p:spPr>
              <a:xfrm>
                <a:off x="6445939" y="2374590"/>
                <a:ext cx="978789" cy="736496"/>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Training canceled</a:t>
                </a:r>
              </a:p>
            </p:txBody>
          </p:sp>
          <p:sp>
            <p:nvSpPr>
              <p:cNvPr id="90" name="TextBox 8"/>
              <p:cNvSpPr txBox="1"/>
              <p:nvPr>
                <p:custDataLst>
                  <p:tags r:id="rId42"/>
                </p:custDataLst>
              </p:nvPr>
            </p:nvSpPr>
            <p:spPr>
              <a:xfrm>
                <a:off x="6459254" y="3180764"/>
                <a:ext cx="1026785" cy="641328"/>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Contacted managers</a:t>
                </a:r>
              </a:p>
            </p:txBody>
          </p:sp>
        </p:grpSp>
      </p:grpSp>
      <p:sp>
        <p:nvSpPr>
          <p:cNvPr id="41" name="Freeform 40"/>
          <p:cNvSpPr/>
          <p:nvPr>
            <p:custDataLst>
              <p:tags r:id="rId7"/>
            </p:custDataLst>
          </p:nvPr>
        </p:nvSpPr>
        <p:spPr bwMode="gray">
          <a:xfrm flipV="1">
            <a:off x="3652715" y="4686272"/>
            <a:ext cx="1326523" cy="633082"/>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5" name="Rectangle 32"/>
          <p:cNvSpPr txBox="1">
            <a:spLocks/>
          </p:cNvSpPr>
          <p:nvPr>
            <p:custDataLst>
              <p:tags r:id="rId8"/>
            </p:custDataLst>
          </p:nvPr>
        </p:nvSpPr>
        <p:spPr bwMode="gray">
          <a:xfrm>
            <a:off x="914913" y="4930625"/>
            <a:ext cx="2984228" cy="804550"/>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sp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Missed deadlines are highlighted in red, prompting immediate management attention</a:t>
            </a:r>
          </a:p>
        </p:txBody>
      </p:sp>
      <p:sp>
        <p:nvSpPr>
          <p:cNvPr id="6" name="Freeform 5"/>
          <p:cNvSpPr/>
          <p:nvPr>
            <p:custDataLst>
              <p:tags r:id="rId9"/>
            </p:custDataLst>
          </p:nvPr>
        </p:nvSpPr>
        <p:spPr bwMode="gray">
          <a:xfrm flipH="1">
            <a:off x="700931" y="1594913"/>
            <a:ext cx="312180" cy="443896"/>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0" name="Rectangle 30"/>
          <p:cNvSpPr txBox="1">
            <a:spLocks/>
          </p:cNvSpPr>
          <p:nvPr>
            <p:custDataLst>
              <p:tags r:id="rId10"/>
            </p:custDataLst>
          </p:nvPr>
        </p:nvSpPr>
        <p:spPr bwMode="gray">
          <a:xfrm>
            <a:off x="343392" y="1313083"/>
            <a:ext cx="3942885" cy="360636"/>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sp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Actions can be assigned at </a:t>
            </a:r>
            <a:r>
              <a:rPr lang="en-US" sz="1398" dirty="0">
                <a:solidFill>
                  <a:prstClr val="black"/>
                </a:solidFill>
                <a:latin typeface="Arial"/>
              </a:rPr>
              <a:t>all levels</a:t>
            </a:r>
            <a:endParaRPr lang="en-US" sz="1398" dirty="0">
              <a:latin typeface="Arial"/>
            </a:endParaRPr>
          </a:p>
        </p:txBody>
      </p:sp>
      <p:sp>
        <p:nvSpPr>
          <p:cNvPr id="42" name="Freeform 41"/>
          <p:cNvSpPr/>
          <p:nvPr>
            <p:custDataLst>
              <p:tags r:id="rId11"/>
            </p:custDataLst>
          </p:nvPr>
        </p:nvSpPr>
        <p:spPr bwMode="gray">
          <a:xfrm flipV="1">
            <a:off x="5592857" y="4645673"/>
            <a:ext cx="384986" cy="871123"/>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4" name="Rectangle 30"/>
          <p:cNvSpPr txBox="1">
            <a:spLocks/>
          </p:cNvSpPr>
          <p:nvPr>
            <p:custDataLst>
              <p:tags r:id="rId12"/>
            </p:custDataLst>
          </p:nvPr>
        </p:nvSpPr>
        <p:spPr bwMode="gray">
          <a:xfrm>
            <a:off x="5103147" y="4942417"/>
            <a:ext cx="3154482" cy="1007081"/>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no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Visual indicator of status allows manager to quickly identify which action items are at risk (e.g., yellow = some progress and on track)</a:t>
            </a:r>
          </a:p>
        </p:txBody>
      </p:sp>
      <p:sp>
        <p:nvSpPr>
          <p:cNvPr id="3" name="TextBox 2">
            <a:extLst>
              <a:ext uri="{FF2B5EF4-FFF2-40B4-BE49-F238E27FC236}">
                <a16:creationId xmlns:a16="http://schemas.microsoft.com/office/drawing/2014/main" id="{1C31DBCE-D6F1-4FAC-8736-B54B835A8278}"/>
              </a:ext>
            </a:extLst>
          </p:cNvPr>
          <p:cNvSpPr txBox="1"/>
          <p:nvPr/>
        </p:nvSpPr>
        <p:spPr>
          <a:xfrm>
            <a:off x="6454363" y="2858888"/>
            <a:ext cx="2117228" cy="1077218"/>
          </a:xfrm>
          <a:prstGeom prst="rect">
            <a:avLst/>
          </a:prstGeom>
          <a:solidFill>
            <a:srgbClr val="FFC000"/>
          </a:solidFill>
          <a:ln>
            <a:solidFill>
              <a:schemeClr val="tx2"/>
            </a:solidFill>
          </a:ln>
        </p:spPr>
        <p:txBody>
          <a:bodyPr wrap="square" rtlCol="0">
            <a:spAutoFit/>
          </a:bodyPr>
          <a:lstStyle/>
          <a:p>
            <a:r>
              <a:rPr lang="en-US" dirty="0"/>
              <a:t>MPs can see which actions they can support!</a:t>
            </a:r>
          </a:p>
          <a:p>
            <a:endParaRPr lang="en-US" dirty="0"/>
          </a:p>
        </p:txBody>
      </p:sp>
    </p:spTree>
    <p:extLst>
      <p:ext uri="{BB962C8B-B14F-4D97-AF65-F5344CB8AC3E}">
        <p14:creationId xmlns:p14="http://schemas.microsoft.com/office/powerpoint/2010/main" val="14290496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24"/>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Our Scorecard Hub is the reference portal for countries to share and access knowledge about scorecard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About the Scorecard Hub</a:t>
            </a:r>
            <a:endParaRPr lang="en-GB" sz="2352" b="0" dirty="0">
              <a:solidFill>
                <a:prstClr val="black">
                  <a:lumMod val="65000"/>
                  <a:lumOff val="35000"/>
                </a:prstClr>
              </a:solidFill>
            </a:endParaRPr>
          </a:p>
        </p:txBody>
      </p:sp>
      <p:grpSp>
        <p:nvGrpSpPr>
          <p:cNvPr id="6" name="Group 5">
            <a:extLst>
              <a:ext uri="{FF2B5EF4-FFF2-40B4-BE49-F238E27FC236}">
                <a16:creationId xmlns:a16="http://schemas.microsoft.com/office/drawing/2014/main" id="{9A8D46BE-3630-834A-B4DB-B0E74291FEAE}"/>
              </a:ext>
            </a:extLst>
          </p:cNvPr>
          <p:cNvGrpSpPr/>
          <p:nvPr/>
        </p:nvGrpSpPr>
        <p:grpSpPr>
          <a:xfrm>
            <a:off x="5130349" y="4149161"/>
            <a:ext cx="3198184" cy="2017151"/>
            <a:chOff x="2604604" y="3909389"/>
            <a:chExt cx="3933602" cy="2573119"/>
          </a:xfrm>
        </p:grpSpPr>
        <p:grpSp>
          <p:nvGrpSpPr>
            <p:cNvPr id="7" name="Group 6">
              <a:extLst>
                <a:ext uri="{FF2B5EF4-FFF2-40B4-BE49-F238E27FC236}">
                  <a16:creationId xmlns:a16="http://schemas.microsoft.com/office/drawing/2014/main" id="{DFE94053-2F02-F142-928F-8ED176438C6C}"/>
                </a:ext>
              </a:extLst>
            </p:cNvPr>
            <p:cNvGrpSpPr/>
            <p:nvPr/>
          </p:nvGrpSpPr>
          <p:grpSpPr>
            <a:xfrm>
              <a:off x="2604604" y="3909389"/>
              <a:ext cx="3933602" cy="2573119"/>
              <a:chOff x="2843213" y="3242784"/>
              <a:chExt cx="3467100" cy="2006203"/>
            </a:xfrm>
          </p:grpSpPr>
          <p:sp>
            <p:nvSpPr>
              <p:cNvPr id="10" name="Freeform 6">
                <a:extLst>
                  <a:ext uri="{FF2B5EF4-FFF2-40B4-BE49-F238E27FC236}">
                    <a16:creationId xmlns:a16="http://schemas.microsoft.com/office/drawing/2014/main" id="{1E696C8C-27A5-2941-9F14-7D33C73EF020}"/>
                  </a:ext>
                </a:extLst>
              </p:cNvPr>
              <p:cNvSpPr>
                <a:spLocks noEditPoints="1"/>
              </p:cNvSpPr>
              <p:nvPr/>
            </p:nvSpPr>
            <p:spPr bwMode="auto">
              <a:xfrm>
                <a:off x="3153966" y="3242784"/>
                <a:ext cx="2834878" cy="1901428"/>
              </a:xfrm>
              <a:custGeom>
                <a:avLst/>
                <a:gdLst>
                  <a:gd name="T0" fmla="*/ 273 w 273"/>
                  <a:gd name="T1" fmla="*/ 175 h 182"/>
                  <a:gd name="T2" fmla="*/ 273 w 273"/>
                  <a:gd name="T3" fmla="*/ 11 h 182"/>
                  <a:gd name="T4" fmla="*/ 263 w 273"/>
                  <a:gd name="T5" fmla="*/ 0 h 182"/>
                  <a:gd name="T6" fmla="*/ 11 w 273"/>
                  <a:gd name="T7" fmla="*/ 0 h 182"/>
                  <a:gd name="T8" fmla="*/ 0 w 273"/>
                  <a:gd name="T9" fmla="*/ 11 h 182"/>
                  <a:gd name="T10" fmla="*/ 0 w 273"/>
                  <a:gd name="T11" fmla="*/ 175 h 182"/>
                  <a:gd name="T12" fmla="*/ 3 w 273"/>
                  <a:gd name="T13" fmla="*/ 182 h 182"/>
                  <a:gd name="T14" fmla="*/ 270 w 273"/>
                  <a:gd name="T15" fmla="*/ 182 h 182"/>
                  <a:gd name="T16" fmla="*/ 273 w 273"/>
                  <a:gd name="T17" fmla="*/ 175 h 182"/>
                  <a:gd name="T18" fmla="*/ 263 w 273"/>
                  <a:gd name="T19" fmla="*/ 170 h 182"/>
                  <a:gd name="T20" fmla="*/ 9 w 273"/>
                  <a:gd name="T21" fmla="*/ 170 h 182"/>
                  <a:gd name="T22" fmla="*/ 9 w 273"/>
                  <a:gd name="T23" fmla="*/ 11 h 182"/>
                  <a:gd name="T24" fmla="*/ 263 w 273"/>
                  <a:gd name="T25" fmla="*/ 11 h 182"/>
                  <a:gd name="T26" fmla="*/ 263 w 273"/>
                  <a:gd name="T27" fmla="*/ 17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82">
                    <a:moveTo>
                      <a:pt x="273" y="175"/>
                    </a:moveTo>
                    <a:cubicBezTo>
                      <a:pt x="273" y="11"/>
                      <a:pt x="273" y="11"/>
                      <a:pt x="273" y="11"/>
                    </a:cubicBezTo>
                    <a:cubicBezTo>
                      <a:pt x="273" y="5"/>
                      <a:pt x="268" y="0"/>
                      <a:pt x="263" y="0"/>
                    </a:cubicBezTo>
                    <a:cubicBezTo>
                      <a:pt x="11" y="0"/>
                      <a:pt x="11" y="0"/>
                      <a:pt x="11" y="0"/>
                    </a:cubicBezTo>
                    <a:cubicBezTo>
                      <a:pt x="5" y="0"/>
                      <a:pt x="0" y="5"/>
                      <a:pt x="0" y="11"/>
                    </a:cubicBezTo>
                    <a:cubicBezTo>
                      <a:pt x="0" y="175"/>
                      <a:pt x="0" y="175"/>
                      <a:pt x="0" y="175"/>
                    </a:cubicBezTo>
                    <a:cubicBezTo>
                      <a:pt x="0" y="177"/>
                      <a:pt x="1" y="180"/>
                      <a:pt x="3" y="182"/>
                    </a:cubicBezTo>
                    <a:cubicBezTo>
                      <a:pt x="270" y="182"/>
                      <a:pt x="270" y="182"/>
                      <a:pt x="270" y="182"/>
                    </a:cubicBezTo>
                    <a:cubicBezTo>
                      <a:pt x="272" y="180"/>
                      <a:pt x="273" y="177"/>
                      <a:pt x="273" y="175"/>
                    </a:cubicBezTo>
                    <a:close/>
                    <a:moveTo>
                      <a:pt x="263" y="170"/>
                    </a:moveTo>
                    <a:cubicBezTo>
                      <a:pt x="9" y="170"/>
                      <a:pt x="9" y="170"/>
                      <a:pt x="9" y="170"/>
                    </a:cubicBezTo>
                    <a:cubicBezTo>
                      <a:pt x="9" y="11"/>
                      <a:pt x="9" y="11"/>
                      <a:pt x="9" y="11"/>
                    </a:cubicBezTo>
                    <a:cubicBezTo>
                      <a:pt x="263" y="11"/>
                      <a:pt x="263" y="11"/>
                      <a:pt x="263" y="11"/>
                    </a:cubicBezTo>
                    <a:lnTo>
                      <a:pt x="263" y="17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sp>
            <p:nvSpPr>
              <p:cNvPr id="11" name="Freeform 7">
                <a:extLst>
                  <a:ext uri="{FF2B5EF4-FFF2-40B4-BE49-F238E27FC236}">
                    <a16:creationId xmlns:a16="http://schemas.microsoft.com/office/drawing/2014/main" id="{A8834EF6-7722-6F40-9222-6037210168F9}"/>
                  </a:ext>
                </a:extLst>
              </p:cNvPr>
              <p:cNvSpPr>
                <a:spLocks/>
              </p:cNvSpPr>
              <p:nvPr/>
            </p:nvSpPr>
            <p:spPr bwMode="auto">
              <a:xfrm>
                <a:off x="2843213" y="5144212"/>
                <a:ext cx="3467100" cy="63103"/>
              </a:xfrm>
              <a:custGeom>
                <a:avLst/>
                <a:gdLst>
                  <a:gd name="T0" fmla="*/ 2616 w 2912"/>
                  <a:gd name="T1" fmla="*/ 0 h 53"/>
                  <a:gd name="T2" fmla="*/ 288 w 2912"/>
                  <a:gd name="T3" fmla="*/ 0 h 53"/>
                  <a:gd name="T4" fmla="*/ 0 w 2912"/>
                  <a:gd name="T5" fmla="*/ 0 h 53"/>
                  <a:gd name="T6" fmla="*/ 0 w 2912"/>
                  <a:gd name="T7" fmla="*/ 53 h 53"/>
                  <a:gd name="T8" fmla="*/ 2912 w 2912"/>
                  <a:gd name="T9" fmla="*/ 53 h 53"/>
                  <a:gd name="T10" fmla="*/ 2912 w 2912"/>
                  <a:gd name="T11" fmla="*/ 0 h 53"/>
                  <a:gd name="T12" fmla="*/ 2616 w 291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912" h="53">
                    <a:moveTo>
                      <a:pt x="2616" y="0"/>
                    </a:moveTo>
                    <a:lnTo>
                      <a:pt x="288" y="0"/>
                    </a:lnTo>
                    <a:lnTo>
                      <a:pt x="0" y="0"/>
                    </a:lnTo>
                    <a:lnTo>
                      <a:pt x="0" y="53"/>
                    </a:lnTo>
                    <a:lnTo>
                      <a:pt x="2912" y="53"/>
                    </a:lnTo>
                    <a:lnTo>
                      <a:pt x="2912" y="0"/>
                    </a:lnTo>
                    <a:lnTo>
                      <a:pt x="2616"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sp>
            <p:nvSpPr>
              <p:cNvPr id="12" name="Freeform 9">
                <a:extLst>
                  <a:ext uri="{FF2B5EF4-FFF2-40B4-BE49-F238E27FC236}">
                    <a16:creationId xmlns:a16="http://schemas.microsoft.com/office/drawing/2014/main" id="{770F9D7C-BCA4-2E4D-ADE8-AA226723C40A}"/>
                  </a:ext>
                </a:extLst>
              </p:cNvPr>
              <p:cNvSpPr>
                <a:spLocks/>
              </p:cNvSpPr>
              <p:nvPr/>
            </p:nvSpPr>
            <p:spPr bwMode="auto">
              <a:xfrm>
                <a:off x="4327922" y="5144212"/>
                <a:ext cx="488156" cy="41672"/>
              </a:xfrm>
              <a:custGeom>
                <a:avLst/>
                <a:gdLst>
                  <a:gd name="T0" fmla="*/ 24 w 47"/>
                  <a:gd name="T1" fmla="*/ 0 h 4"/>
                  <a:gd name="T2" fmla="*/ 23 w 47"/>
                  <a:gd name="T3" fmla="*/ 0 h 4"/>
                  <a:gd name="T4" fmla="*/ 0 w 47"/>
                  <a:gd name="T5" fmla="*/ 0 h 4"/>
                  <a:gd name="T6" fmla="*/ 4 w 47"/>
                  <a:gd name="T7" fmla="*/ 4 h 4"/>
                  <a:gd name="T8" fmla="*/ 23 w 47"/>
                  <a:gd name="T9" fmla="*/ 4 h 4"/>
                  <a:gd name="T10" fmla="*/ 24 w 47"/>
                  <a:gd name="T11" fmla="*/ 4 h 4"/>
                  <a:gd name="T12" fmla="*/ 43 w 47"/>
                  <a:gd name="T13" fmla="*/ 4 h 4"/>
                  <a:gd name="T14" fmla="*/ 47 w 47"/>
                  <a:gd name="T15" fmla="*/ 0 h 4"/>
                  <a:gd name="T16" fmla="*/ 24 w 4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
                    <a:moveTo>
                      <a:pt x="24" y="0"/>
                    </a:moveTo>
                    <a:cubicBezTo>
                      <a:pt x="23" y="0"/>
                      <a:pt x="23" y="0"/>
                      <a:pt x="23" y="0"/>
                    </a:cubicBezTo>
                    <a:cubicBezTo>
                      <a:pt x="0" y="0"/>
                      <a:pt x="0" y="0"/>
                      <a:pt x="0" y="0"/>
                    </a:cubicBezTo>
                    <a:cubicBezTo>
                      <a:pt x="0" y="0"/>
                      <a:pt x="1" y="4"/>
                      <a:pt x="4" y="4"/>
                    </a:cubicBezTo>
                    <a:cubicBezTo>
                      <a:pt x="7" y="4"/>
                      <a:pt x="20" y="4"/>
                      <a:pt x="23" y="4"/>
                    </a:cubicBezTo>
                    <a:cubicBezTo>
                      <a:pt x="23" y="4"/>
                      <a:pt x="24" y="4"/>
                      <a:pt x="24" y="4"/>
                    </a:cubicBezTo>
                    <a:cubicBezTo>
                      <a:pt x="27" y="4"/>
                      <a:pt x="39" y="4"/>
                      <a:pt x="43" y="4"/>
                    </a:cubicBezTo>
                    <a:cubicBezTo>
                      <a:pt x="46" y="4"/>
                      <a:pt x="47" y="0"/>
                      <a:pt x="47" y="0"/>
                    </a:cubicBezTo>
                    <a:lnTo>
                      <a:pt x="24"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sp>
            <p:nvSpPr>
              <p:cNvPr id="13" name="Freeform 10">
                <a:extLst>
                  <a:ext uri="{FF2B5EF4-FFF2-40B4-BE49-F238E27FC236}">
                    <a16:creationId xmlns:a16="http://schemas.microsoft.com/office/drawing/2014/main" id="{A147EED4-1F9D-414F-A212-36FBD14EBFF9}"/>
                  </a:ext>
                </a:extLst>
              </p:cNvPr>
              <p:cNvSpPr>
                <a:spLocks/>
              </p:cNvSpPr>
              <p:nvPr/>
            </p:nvSpPr>
            <p:spPr bwMode="auto">
              <a:xfrm>
                <a:off x="2843213" y="5207315"/>
                <a:ext cx="3467100" cy="41672"/>
              </a:xfrm>
              <a:custGeom>
                <a:avLst/>
                <a:gdLst>
                  <a:gd name="T0" fmla="*/ 0 w 334"/>
                  <a:gd name="T1" fmla="*/ 0 h 4"/>
                  <a:gd name="T2" fmla="*/ 19 w 334"/>
                  <a:gd name="T3" fmla="*/ 4 h 4"/>
                  <a:gd name="T4" fmla="*/ 166 w 334"/>
                  <a:gd name="T5" fmla="*/ 4 h 4"/>
                  <a:gd name="T6" fmla="*/ 168 w 334"/>
                  <a:gd name="T7" fmla="*/ 4 h 4"/>
                  <a:gd name="T8" fmla="*/ 314 w 334"/>
                  <a:gd name="T9" fmla="*/ 4 h 4"/>
                  <a:gd name="T10" fmla="*/ 334 w 334"/>
                  <a:gd name="T11" fmla="*/ 0 h 4"/>
                </a:gdLst>
                <a:ahLst/>
                <a:cxnLst>
                  <a:cxn ang="0">
                    <a:pos x="T0" y="T1"/>
                  </a:cxn>
                  <a:cxn ang="0">
                    <a:pos x="T2" y="T3"/>
                  </a:cxn>
                  <a:cxn ang="0">
                    <a:pos x="T4" y="T5"/>
                  </a:cxn>
                  <a:cxn ang="0">
                    <a:pos x="T6" y="T7"/>
                  </a:cxn>
                  <a:cxn ang="0">
                    <a:pos x="T8" y="T9"/>
                  </a:cxn>
                  <a:cxn ang="0">
                    <a:pos x="T10" y="T11"/>
                  </a:cxn>
                </a:cxnLst>
                <a:rect l="0" t="0" r="r" b="b"/>
                <a:pathLst>
                  <a:path w="334" h="4">
                    <a:moveTo>
                      <a:pt x="0" y="0"/>
                    </a:moveTo>
                    <a:cubicBezTo>
                      <a:pt x="0" y="0"/>
                      <a:pt x="2" y="4"/>
                      <a:pt x="19" y="4"/>
                    </a:cubicBezTo>
                    <a:cubicBezTo>
                      <a:pt x="37" y="4"/>
                      <a:pt x="166" y="4"/>
                      <a:pt x="166" y="4"/>
                    </a:cubicBezTo>
                    <a:cubicBezTo>
                      <a:pt x="168" y="4"/>
                      <a:pt x="168" y="4"/>
                      <a:pt x="168" y="4"/>
                    </a:cubicBezTo>
                    <a:cubicBezTo>
                      <a:pt x="168" y="4"/>
                      <a:pt x="297" y="4"/>
                      <a:pt x="314" y="4"/>
                    </a:cubicBezTo>
                    <a:cubicBezTo>
                      <a:pt x="332" y="4"/>
                      <a:pt x="334" y="0"/>
                      <a:pt x="334" y="0"/>
                    </a:cubicBezTo>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grpSp>
            <p:nvGrpSpPr>
              <p:cNvPr id="14" name="Group 13">
                <a:extLst>
                  <a:ext uri="{FF2B5EF4-FFF2-40B4-BE49-F238E27FC236}">
                    <a16:creationId xmlns:a16="http://schemas.microsoft.com/office/drawing/2014/main" id="{2B2DE1C2-1147-1244-96CB-46DFDF4001F2}"/>
                  </a:ext>
                </a:extLst>
              </p:cNvPr>
              <p:cNvGrpSpPr/>
              <p:nvPr/>
            </p:nvGrpSpPr>
            <p:grpSpPr>
              <a:xfrm>
                <a:off x="3274547" y="3264349"/>
                <a:ext cx="2563951" cy="1698238"/>
                <a:chOff x="3274547" y="3295171"/>
                <a:chExt cx="2563951" cy="1698238"/>
              </a:xfrm>
            </p:grpSpPr>
            <p:sp>
              <p:nvSpPr>
                <p:cNvPr id="17" name="Oval 16">
                  <a:extLst>
                    <a:ext uri="{FF2B5EF4-FFF2-40B4-BE49-F238E27FC236}">
                      <a16:creationId xmlns:a16="http://schemas.microsoft.com/office/drawing/2014/main" id="{52B50B98-AF9A-514A-9A5D-5027AC6AEBF2}"/>
                    </a:ext>
                  </a:extLst>
                </p:cNvPr>
                <p:cNvSpPr>
                  <a:spLocks noChangeArrowheads="1"/>
                </p:cNvSpPr>
                <p:nvPr/>
              </p:nvSpPr>
              <p:spPr bwMode="auto">
                <a:xfrm>
                  <a:off x="4556522" y="3295171"/>
                  <a:ext cx="30956" cy="20241"/>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graphicFrame>
              <p:nvGraphicFramePr>
                <p:cNvPr id="18" name="Chart 17">
                  <a:extLst>
                    <a:ext uri="{FF2B5EF4-FFF2-40B4-BE49-F238E27FC236}">
                      <a16:creationId xmlns:a16="http://schemas.microsoft.com/office/drawing/2014/main" id="{F01635F5-80C9-3E4D-99B0-F953543DFBA1}"/>
                    </a:ext>
                  </a:extLst>
                </p:cNvPr>
                <p:cNvGraphicFramePr/>
                <p:nvPr/>
              </p:nvGraphicFramePr>
              <p:xfrm>
                <a:off x="3274547" y="3497009"/>
                <a:ext cx="2563951" cy="1496400"/>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a:extLst>
                    <a:ext uri="{FF2B5EF4-FFF2-40B4-BE49-F238E27FC236}">
                      <a16:creationId xmlns:a16="http://schemas.microsoft.com/office/drawing/2014/main" id="{2E1AF290-45EF-4B45-85DA-C48CD46FAD12}"/>
                    </a:ext>
                  </a:extLst>
                </p:cNvPr>
                <p:cNvSpPr/>
                <p:nvPr/>
              </p:nvSpPr>
              <p:spPr>
                <a:xfrm>
                  <a:off x="3274547" y="3916275"/>
                  <a:ext cx="1647554" cy="48068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fontAlgn="auto">
                    <a:spcBef>
                      <a:spcPts val="0"/>
                    </a:spcBef>
                    <a:spcAft>
                      <a:spcPts val="0"/>
                    </a:spcAft>
                    <a:defRPr/>
                  </a:pPr>
                  <a:endParaRPr lang="en-GB" sz="392" dirty="0" err="1">
                    <a:solidFill>
                      <a:prstClr val="black"/>
                    </a:solidFill>
                    <a:latin typeface="Arial"/>
                  </a:endParaRPr>
                </a:p>
              </p:txBody>
            </p:sp>
            <p:sp>
              <p:nvSpPr>
                <p:cNvPr id="20" name="TextBox 19">
                  <a:extLst>
                    <a:ext uri="{FF2B5EF4-FFF2-40B4-BE49-F238E27FC236}">
                      <a16:creationId xmlns:a16="http://schemas.microsoft.com/office/drawing/2014/main" id="{A06B0B94-A419-C447-9882-1C54E0B5172F}"/>
                    </a:ext>
                  </a:extLst>
                </p:cNvPr>
                <p:cNvSpPr txBox="1"/>
                <p:nvPr/>
              </p:nvSpPr>
              <p:spPr>
                <a:xfrm>
                  <a:off x="4119145" y="3542485"/>
                  <a:ext cx="684850" cy="107137"/>
                </a:xfrm>
                <a:prstGeom prst="rect">
                  <a:avLst/>
                </a:prstGeom>
                <a:noFill/>
              </p:spPr>
              <p:txBody>
                <a:bodyPr wrap="square" rtlCol="0">
                  <a:spAutoFit/>
                </a:bodyPr>
                <a:lstStyle/>
                <a:p>
                  <a:pPr defTabSz="896017" fontAlgn="auto">
                    <a:spcBef>
                      <a:spcPts val="0"/>
                    </a:spcBef>
                    <a:spcAft>
                      <a:spcPts val="0"/>
                    </a:spcAft>
                    <a:defRPr/>
                  </a:pPr>
                  <a:r>
                    <a:rPr lang="en-GB" sz="100" b="1" dirty="0">
                      <a:solidFill>
                        <a:prstClr val="white"/>
                      </a:solidFill>
                      <a:latin typeface="Arial"/>
                    </a:rPr>
                    <a:t>Online training</a:t>
                  </a:r>
                </a:p>
              </p:txBody>
            </p:sp>
            <p:sp>
              <p:nvSpPr>
                <p:cNvPr id="21" name="TextBox 20">
                  <a:extLst>
                    <a:ext uri="{FF2B5EF4-FFF2-40B4-BE49-F238E27FC236}">
                      <a16:creationId xmlns:a16="http://schemas.microsoft.com/office/drawing/2014/main" id="{0D2E4F7F-4385-474C-81D2-824F33A39655}"/>
                    </a:ext>
                  </a:extLst>
                </p:cNvPr>
                <p:cNvSpPr txBox="1"/>
                <p:nvPr/>
              </p:nvSpPr>
              <p:spPr>
                <a:xfrm>
                  <a:off x="4844571" y="3542485"/>
                  <a:ext cx="449193" cy="107137"/>
                </a:xfrm>
                <a:prstGeom prst="rect">
                  <a:avLst/>
                </a:prstGeom>
                <a:noFill/>
              </p:spPr>
              <p:txBody>
                <a:bodyPr wrap="square" rtlCol="0">
                  <a:spAutoFit/>
                </a:bodyPr>
                <a:lstStyle/>
                <a:p>
                  <a:pPr defTabSz="896017" fontAlgn="auto">
                    <a:spcBef>
                      <a:spcPts val="0"/>
                    </a:spcBef>
                    <a:spcAft>
                      <a:spcPts val="0"/>
                    </a:spcAft>
                    <a:defRPr/>
                  </a:pPr>
                  <a:r>
                    <a:rPr lang="en-GB" sz="100" b="1" dirty="0">
                      <a:solidFill>
                        <a:prstClr val="white"/>
                      </a:solidFill>
                      <a:latin typeface="Arial"/>
                    </a:rPr>
                    <a:t>Forum</a:t>
                  </a:r>
                </a:p>
              </p:txBody>
            </p:sp>
            <p:sp>
              <p:nvSpPr>
                <p:cNvPr id="22" name="TextBox 21">
                  <a:extLst>
                    <a:ext uri="{FF2B5EF4-FFF2-40B4-BE49-F238E27FC236}">
                      <a16:creationId xmlns:a16="http://schemas.microsoft.com/office/drawing/2014/main" id="{DBBE6B67-2FDA-464B-B47E-6B5CB4EEF78D}"/>
                    </a:ext>
                  </a:extLst>
                </p:cNvPr>
                <p:cNvSpPr txBox="1"/>
                <p:nvPr/>
              </p:nvSpPr>
              <p:spPr>
                <a:xfrm>
                  <a:off x="4612421" y="3542485"/>
                  <a:ext cx="353695" cy="107137"/>
                </a:xfrm>
                <a:prstGeom prst="rect">
                  <a:avLst/>
                </a:prstGeom>
                <a:noFill/>
              </p:spPr>
              <p:txBody>
                <a:bodyPr wrap="square" rtlCol="0">
                  <a:spAutoFit/>
                </a:bodyPr>
                <a:lstStyle/>
                <a:p>
                  <a:pPr defTabSz="896017" fontAlgn="auto">
                    <a:spcBef>
                      <a:spcPts val="0"/>
                    </a:spcBef>
                    <a:spcAft>
                      <a:spcPts val="0"/>
                    </a:spcAft>
                    <a:defRPr/>
                  </a:pPr>
                  <a:r>
                    <a:rPr lang="en-GB" sz="100" b="1" dirty="0">
                      <a:solidFill>
                        <a:prstClr val="white"/>
                      </a:solidFill>
                      <a:latin typeface="Arial"/>
                    </a:rPr>
                    <a:t>Blog</a:t>
                  </a:r>
                </a:p>
              </p:txBody>
            </p:sp>
          </p:grpSp>
        </p:grpSp>
        <p:sp>
          <p:nvSpPr>
            <p:cNvPr id="8" name="Rectangle 7">
              <a:extLst>
                <a:ext uri="{FF2B5EF4-FFF2-40B4-BE49-F238E27FC236}">
                  <a16:creationId xmlns:a16="http://schemas.microsoft.com/office/drawing/2014/main" id="{7EFE8A68-9D58-414D-BC02-D23286DA2285}"/>
                </a:ext>
              </a:extLst>
            </p:cNvPr>
            <p:cNvSpPr/>
            <p:nvPr/>
          </p:nvSpPr>
          <p:spPr>
            <a:xfrm>
              <a:off x="5744463" y="5796120"/>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568" dirty="0" err="1">
                <a:solidFill>
                  <a:prstClr val="black"/>
                </a:solidFill>
                <a:latin typeface="Calibri" panose="020F0502020204030204"/>
              </a:endParaRPr>
            </a:p>
          </p:txBody>
        </p:sp>
        <p:sp>
          <p:nvSpPr>
            <p:cNvPr id="9" name="Rectangle 8">
              <a:extLst>
                <a:ext uri="{FF2B5EF4-FFF2-40B4-BE49-F238E27FC236}">
                  <a16:creationId xmlns:a16="http://schemas.microsoft.com/office/drawing/2014/main" id="{B6B530D1-6DE6-F444-92EF-78080F231A13}"/>
                </a:ext>
              </a:extLst>
            </p:cNvPr>
            <p:cNvSpPr/>
            <p:nvPr/>
          </p:nvSpPr>
          <p:spPr>
            <a:xfrm>
              <a:off x="5387926" y="5916414"/>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568" dirty="0" err="1">
                <a:solidFill>
                  <a:prstClr val="black"/>
                </a:solidFill>
                <a:latin typeface="Calibri" panose="020F0502020204030204"/>
              </a:endParaRPr>
            </a:p>
          </p:txBody>
        </p:sp>
      </p:grpSp>
      <p:pic>
        <p:nvPicPr>
          <p:cNvPr id="23" name="Picture 22">
            <a:extLst>
              <a:ext uri="{FF2B5EF4-FFF2-40B4-BE49-F238E27FC236}">
                <a16:creationId xmlns:a16="http://schemas.microsoft.com/office/drawing/2014/main" id="{49C66000-0B78-0D42-945B-2CF4DAC261AF}"/>
              </a:ext>
            </a:extLst>
          </p:cNvPr>
          <p:cNvPicPr>
            <a:picLocks noChangeAspect="1"/>
          </p:cNvPicPr>
          <p:nvPr/>
        </p:nvPicPr>
        <p:blipFill>
          <a:blip r:embed="rId3"/>
          <a:stretch>
            <a:fillRect/>
          </a:stretch>
        </p:blipFill>
        <p:spPr>
          <a:xfrm>
            <a:off x="5505824" y="4237403"/>
            <a:ext cx="2456831" cy="1688528"/>
          </a:xfrm>
          <a:prstGeom prst="rect">
            <a:avLst/>
          </a:prstGeom>
        </p:spPr>
      </p:pic>
      <p:sp>
        <p:nvSpPr>
          <p:cNvPr id="27" name="Text Placeholder 5">
            <a:extLst>
              <a:ext uri="{FF2B5EF4-FFF2-40B4-BE49-F238E27FC236}">
                <a16:creationId xmlns:a16="http://schemas.microsoft.com/office/drawing/2014/main" id="{0F36305B-62A8-6049-A3FA-A09B7B7B61C3}"/>
              </a:ext>
            </a:extLst>
          </p:cNvPr>
          <p:cNvSpPr txBox="1">
            <a:spLocks/>
          </p:cNvSpPr>
          <p:nvPr/>
        </p:nvSpPr>
        <p:spPr>
          <a:xfrm>
            <a:off x="461524" y="1820630"/>
            <a:ext cx="4006487" cy="470042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Bef>
                <a:spcPts val="588"/>
              </a:spcBef>
              <a:spcAft>
                <a:spcPts val="196"/>
              </a:spcAft>
            </a:pPr>
            <a:r>
              <a:rPr lang="en-US" sz="1470" b="1" dirty="0">
                <a:solidFill>
                  <a:srgbClr val="D8D8D8">
                    <a:lumMod val="10000"/>
                  </a:srgbClr>
                </a:solidFill>
              </a:rPr>
              <a:t>What is on the Hub: </a:t>
            </a:r>
            <a:r>
              <a:rPr lang="en-US" sz="1470" b="1" dirty="0">
                <a:solidFill>
                  <a:srgbClr val="D8D8D8">
                    <a:lumMod val="10000"/>
                  </a:srgbClr>
                </a:solidFill>
                <a:hlinkClick r:id="rId4"/>
              </a:rPr>
              <a:t>www.scorecardhub.org</a:t>
            </a:r>
            <a:endParaRPr lang="en-US" sz="1470" b="1" dirty="0">
              <a:solidFill>
                <a:srgbClr val="D8D8D8">
                  <a:lumMod val="10000"/>
                </a:srgbClr>
              </a:solidFill>
            </a:endParaRPr>
          </a:p>
          <a:p>
            <a:pPr marL="280035" indent="-280035" defTabSz="672067" fontAlgn="auto">
              <a:lnSpc>
                <a:spcPct val="100000"/>
              </a:lnSpc>
              <a:spcBef>
                <a:spcPts val="196"/>
              </a:spcBef>
              <a:spcAft>
                <a:spcPts val="392"/>
              </a:spcAft>
              <a:buFont typeface="Arial" panose="020B0604020202020204" pitchFamily="34" charset="0"/>
              <a:buChar char="•"/>
            </a:pPr>
            <a:endParaRPr lang="en-US" sz="1470" dirty="0">
              <a:solidFill>
                <a:srgbClr val="D8D8D8">
                  <a:lumMod val="10000"/>
                </a:srgbClr>
              </a:solidFill>
            </a:endParaRP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A public directory of scorecards</a:t>
            </a:r>
            <a:r>
              <a:rPr lang="en-US" sz="1470" dirty="0">
                <a:solidFill>
                  <a:srgbClr val="D8D8D8">
                    <a:lumMod val="10000"/>
                  </a:srgbClr>
                </a:solidFill>
              </a:rPr>
              <a:t> shared by African countries</a:t>
            </a: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Country best practices </a:t>
            </a:r>
            <a:r>
              <a:rPr lang="en-US" sz="1470" dirty="0">
                <a:solidFill>
                  <a:srgbClr val="D8D8D8">
                    <a:lumMod val="10000"/>
                  </a:srgbClr>
                </a:solidFill>
              </a:rPr>
              <a:t>highlighting how countries have used scorecard tools for impact –  such as Ethiopia’s community scorecard tool</a:t>
            </a: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Guides and toolkits </a:t>
            </a:r>
            <a:r>
              <a:rPr lang="en-US" sz="1470" dirty="0">
                <a:solidFill>
                  <a:srgbClr val="D8D8D8">
                    <a:lumMod val="10000"/>
                  </a:srgbClr>
                </a:solidFill>
              </a:rPr>
              <a:t>to help countries create, </a:t>
            </a:r>
            <a:r>
              <a:rPr lang="en-US" sz="1470" dirty="0" err="1">
                <a:solidFill>
                  <a:srgbClr val="D8D8D8">
                    <a:lumMod val="10000"/>
                  </a:srgbClr>
                </a:solidFill>
              </a:rPr>
              <a:t>analyse</a:t>
            </a:r>
            <a:r>
              <a:rPr lang="en-US" sz="1470" dirty="0">
                <a:solidFill>
                  <a:srgbClr val="D8D8D8">
                    <a:lumMod val="10000"/>
                  </a:srgbClr>
                </a:solidFill>
              </a:rPr>
              <a:t> and improve scorecard tools</a:t>
            </a: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Online courses </a:t>
            </a:r>
            <a:r>
              <a:rPr lang="en-US" sz="1470" dirty="0">
                <a:solidFill>
                  <a:srgbClr val="D8D8D8">
                    <a:lumMod val="10000"/>
                  </a:srgbClr>
                </a:solidFill>
              </a:rPr>
              <a:t>for Ministry of Health national and sub-national staff</a:t>
            </a: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Events and webinars </a:t>
            </a:r>
            <a:r>
              <a:rPr lang="en-US" sz="1470" dirty="0">
                <a:solidFill>
                  <a:srgbClr val="D8D8D8">
                    <a:lumMod val="10000"/>
                  </a:srgbClr>
                </a:solidFill>
              </a:rPr>
              <a:t>to encourage users to share experiences of using scorecards </a:t>
            </a: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Technical support </a:t>
            </a:r>
            <a:r>
              <a:rPr lang="en-US" sz="1470" dirty="0">
                <a:solidFill>
                  <a:srgbClr val="D8D8D8">
                    <a:lumMod val="10000"/>
                  </a:srgbClr>
                </a:solidFill>
              </a:rPr>
              <a:t>for ministries of health to request help and guidance with the scorecard management tools</a:t>
            </a:r>
          </a:p>
          <a:p>
            <a:pPr defTabSz="672067" fontAlgn="auto">
              <a:lnSpc>
                <a:spcPct val="100000"/>
              </a:lnSpc>
              <a:spcBef>
                <a:spcPts val="588"/>
              </a:spcBef>
              <a:spcAft>
                <a:spcPts val="196"/>
              </a:spcAft>
            </a:pPr>
            <a:endParaRPr lang="en-US" sz="1470" b="1" dirty="0">
              <a:solidFill>
                <a:srgbClr val="D8D8D8">
                  <a:lumMod val="10000"/>
                </a:srgbClr>
              </a:solidFill>
            </a:endParaRPr>
          </a:p>
        </p:txBody>
      </p:sp>
      <p:cxnSp>
        <p:nvCxnSpPr>
          <p:cNvPr id="28" name="Straight Connector 27">
            <a:extLst>
              <a:ext uri="{FF2B5EF4-FFF2-40B4-BE49-F238E27FC236}">
                <a16:creationId xmlns:a16="http://schemas.microsoft.com/office/drawing/2014/main" id="{947FC39B-FCF4-F84B-AA32-99C2850FEF2E}"/>
              </a:ext>
            </a:extLst>
          </p:cNvPr>
          <p:cNvCxnSpPr>
            <a:cxnSpLocks/>
          </p:cNvCxnSpPr>
          <p:nvPr/>
        </p:nvCxnSpPr>
        <p:spPr>
          <a:xfrm>
            <a:off x="4883519" y="1770991"/>
            <a:ext cx="0" cy="4518541"/>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B5B35377-6F58-DC48-8A09-692DD54536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17000" y="1848298"/>
            <a:ext cx="2772227" cy="2141217"/>
          </a:xfrm>
          <a:prstGeom prst="rect">
            <a:avLst/>
          </a:prstGeom>
        </p:spPr>
      </p:pic>
    </p:spTree>
    <p:extLst>
      <p:ext uri="{BB962C8B-B14F-4D97-AF65-F5344CB8AC3E}">
        <p14:creationId xmlns:p14="http://schemas.microsoft.com/office/powerpoint/2010/main" val="18991088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85B17C85-56ED-4CDA-BBC0-FD62BF55A551}"/>
              </a:ext>
            </a:extLst>
          </p:cNvPr>
          <p:cNvSpPr txBox="1">
            <a:spLocks/>
          </p:cNvSpPr>
          <p:nvPr/>
        </p:nvSpPr>
        <p:spPr>
          <a:xfrm>
            <a:off x="455710" y="4180023"/>
            <a:ext cx="8048430" cy="1737142"/>
          </a:xfrm>
          <a:prstGeom prst="rect">
            <a:avLst/>
          </a:prstGeom>
        </p:spPr>
        <p:txBody>
          <a:bodyPr vert="horz" wrap="square" lIns="0" tIns="0" rIns="0" bIns="0" rtlCol="0" anchor="ctr">
            <a:spAutoFit/>
          </a:bodyPr>
          <a:lstStyle>
            <a:lvl1pPr algn="l" defTabSz="672067" rtl="0" eaLnBrk="1" latinLnBrk="0" hangingPunct="1">
              <a:lnSpc>
                <a:spcPct val="90000"/>
              </a:lnSpc>
              <a:spcBef>
                <a:spcPct val="0"/>
              </a:spcBef>
              <a:buNone/>
              <a:defRPr sz="264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marL="0" marR="0" lvl="0" indent="0" algn="ctr" defTabSz="672067"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Intergrate</a:t>
            </a:r>
            <a:r>
              <a:rPr kumimoji="0" lang="en-US" sz="3136"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the scorecard into existing accountability mechanisms</a:t>
            </a: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endParaRPr kumimoji="0" lang="en-US"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8" name="Picture 7">
            <a:extLst>
              <a:ext uri="{FF2B5EF4-FFF2-40B4-BE49-F238E27FC236}">
                <a16:creationId xmlns:a16="http://schemas.microsoft.com/office/drawing/2014/main" id="{393BBE19-56A8-4EBD-B210-04B0887D6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234" y="1775996"/>
            <a:ext cx="7352982" cy="1737142"/>
          </a:xfrm>
          <a:prstGeom prst="rect">
            <a:avLst/>
          </a:prstGeom>
        </p:spPr>
      </p:pic>
    </p:spTree>
    <p:extLst>
      <p:ext uri="{BB962C8B-B14F-4D97-AF65-F5344CB8AC3E}">
        <p14:creationId xmlns:p14="http://schemas.microsoft.com/office/powerpoint/2010/main" val="1074719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DA1DE-7910-42C7-9E5F-FC14F2C012FB}"/>
              </a:ext>
            </a:extLst>
          </p:cNvPr>
          <p:cNvSpPr>
            <a:spLocks noGrp="1"/>
          </p:cNvSpPr>
          <p:nvPr>
            <p:ph type="title"/>
          </p:nvPr>
        </p:nvSpPr>
        <p:spPr/>
        <p:txBody>
          <a:bodyPr/>
          <a:lstStyle/>
          <a:p>
            <a:endParaRPr lang="en-US"/>
          </a:p>
        </p:txBody>
      </p:sp>
      <p:pic>
        <p:nvPicPr>
          <p:cNvPr id="3" name="Online Media 2" title="Integrate a scorecard into accountability structures, establish roles and responsibilities">
            <a:hlinkClick r:id="" action="ppaction://media"/>
            <a:extLst>
              <a:ext uri="{FF2B5EF4-FFF2-40B4-BE49-F238E27FC236}">
                <a16:creationId xmlns:a16="http://schemas.microsoft.com/office/drawing/2014/main" id="{2F9D0ED5-5DC1-4D5C-AFED-89AE0377936E}"/>
              </a:ext>
            </a:extLst>
          </p:cNvPr>
          <p:cNvPicPr>
            <a:picLocks noRot="1" noChangeAspect="1"/>
          </p:cNvPicPr>
          <p:nvPr>
            <a:videoFile r:link="rId1"/>
          </p:nvPr>
        </p:nvPicPr>
        <p:blipFill>
          <a:blip r:embed="rId3"/>
          <a:stretch>
            <a:fillRect/>
          </a:stretch>
        </p:blipFill>
        <p:spPr>
          <a:xfrm>
            <a:off x="255600" y="43432"/>
            <a:ext cx="8401878" cy="6301408"/>
          </a:xfrm>
          <a:prstGeom prst="rect">
            <a:avLst/>
          </a:prstGeom>
        </p:spPr>
      </p:pic>
      <p:sp>
        <p:nvSpPr>
          <p:cNvPr id="5" name="TextBox 4">
            <a:extLst>
              <a:ext uri="{FF2B5EF4-FFF2-40B4-BE49-F238E27FC236}">
                <a16:creationId xmlns:a16="http://schemas.microsoft.com/office/drawing/2014/main" id="{B732325D-DD78-4900-B558-37ADC59613A4}"/>
              </a:ext>
            </a:extLst>
          </p:cNvPr>
          <p:cNvSpPr txBox="1"/>
          <p:nvPr/>
        </p:nvSpPr>
        <p:spPr>
          <a:xfrm>
            <a:off x="0" y="6347812"/>
            <a:ext cx="8401878" cy="338554"/>
          </a:xfrm>
          <a:prstGeom prst="rect">
            <a:avLst/>
          </a:prstGeom>
          <a:noFill/>
        </p:spPr>
        <p:txBody>
          <a:bodyPr wrap="square">
            <a:spAutoFit/>
          </a:bodyPr>
          <a:lstStyle/>
          <a:p>
            <a:r>
              <a:rPr lang="en-US" sz="1600"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Download video here: Integrate a scorecard into accountability structures Video </a:t>
            </a:r>
            <a:endParaRPr lang="en-US" dirty="0"/>
          </a:p>
        </p:txBody>
      </p:sp>
    </p:spTree>
    <p:extLst>
      <p:ext uri="{BB962C8B-B14F-4D97-AF65-F5344CB8AC3E}">
        <p14:creationId xmlns:p14="http://schemas.microsoft.com/office/powerpoint/2010/main" val="2700771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Integrate scorecard tools into existing accountability mechanism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Introduction</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839823"/>
            <a:ext cx="7993602" cy="223835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defTabSz="672067" fontAlgn="auto">
              <a:lnSpc>
                <a:spcPts val="2352"/>
              </a:lnSpc>
              <a:spcAft>
                <a:spcPts val="2940"/>
              </a:spcAft>
              <a:buFont typeface="Arial" panose="020B0604020202020204" pitchFamily="34" charset="0"/>
              <a:buAutoNum type="arabicPeriod"/>
            </a:pPr>
            <a:r>
              <a:rPr lang="en-US" sz="1764" dirty="0">
                <a:solidFill>
                  <a:srgbClr val="D8D8D8">
                    <a:lumMod val="10000"/>
                  </a:srgbClr>
                </a:solidFill>
              </a:rPr>
              <a:t>Identify the </a:t>
            </a:r>
            <a:r>
              <a:rPr lang="en-US" sz="1764" b="1" dirty="0">
                <a:solidFill>
                  <a:srgbClr val="6F0710"/>
                </a:solidFill>
              </a:rPr>
              <a:t>key stakeholders </a:t>
            </a:r>
            <a:r>
              <a:rPr lang="en-US" sz="1764" dirty="0">
                <a:solidFill>
                  <a:srgbClr val="D8D8D8">
                    <a:lumMod val="10000"/>
                  </a:srgbClr>
                </a:solidFill>
              </a:rPr>
              <a:t>who should be engaged for scorecard review </a:t>
            </a:r>
          </a:p>
          <a:p>
            <a:pPr marL="336042" indent="-336042" defTabSz="672067" fontAlgn="auto">
              <a:lnSpc>
                <a:spcPts val="2352"/>
              </a:lnSpc>
              <a:spcAft>
                <a:spcPts val="2940"/>
              </a:spcAft>
              <a:buFont typeface="Arial" panose="020B0604020202020204" pitchFamily="34" charset="0"/>
              <a:buAutoNum type="arabicPeriod"/>
            </a:pPr>
            <a:r>
              <a:rPr lang="en-US" sz="1764" dirty="0">
                <a:solidFill>
                  <a:srgbClr val="D8D8D8">
                    <a:lumMod val="10000"/>
                  </a:srgbClr>
                </a:solidFill>
              </a:rPr>
              <a:t>Identify the </a:t>
            </a:r>
            <a:r>
              <a:rPr lang="en-US" sz="1764" b="1" dirty="0">
                <a:solidFill>
                  <a:srgbClr val="6F0710"/>
                </a:solidFill>
              </a:rPr>
              <a:t>key accountability fora </a:t>
            </a:r>
            <a:r>
              <a:rPr lang="en-US" sz="1764" dirty="0">
                <a:solidFill>
                  <a:srgbClr val="D8D8D8">
                    <a:lumMod val="10000"/>
                  </a:srgbClr>
                </a:solidFill>
              </a:rPr>
              <a:t>where the scorecard can be integrated for review and action</a:t>
            </a:r>
          </a:p>
          <a:p>
            <a:pPr marL="336042" indent="-336042" defTabSz="672067" fontAlgn="auto">
              <a:lnSpc>
                <a:spcPts val="2352"/>
              </a:lnSpc>
              <a:spcAft>
                <a:spcPts val="2940"/>
              </a:spcAft>
              <a:buFont typeface="Arial" panose="020B0604020202020204" pitchFamily="34" charset="0"/>
              <a:buAutoNum type="arabicPeriod"/>
            </a:pPr>
            <a:r>
              <a:rPr lang="en-US" sz="1764" dirty="0">
                <a:solidFill>
                  <a:srgbClr val="D8D8D8">
                    <a:lumMod val="10000"/>
                  </a:srgbClr>
                </a:solidFill>
              </a:rPr>
              <a:t>Define the </a:t>
            </a:r>
            <a:r>
              <a:rPr lang="en-US" sz="1764" b="1" dirty="0">
                <a:solidFill>
                  <a:srgbClr val="6F0710"/>
                </a:solidFill>
              </a:rPr>
              <a:t>quarterly process </a:t>
            </a:r>
            <a:r>
              <a:rPr lang="en-US" sz="1764" dirty="0">
                <a:solidFill>
                  <a:srgbClr val="D8D8D8">
                    <a:lumMod val="10000"/>
                  </a:srgbClr>
                </a:solidFill>
              </a:rPr>
              <a:t>for populating and </a:t>
            </a:r>
            <a:r>
              <a:rPr lang="en-US" sz="1764" dirty="0" err="1">
                <a:solidFill>
                  <a:srgbClr val="D8D8D8">
                    <a:lumMod val="10000"/>
                  </a:srgbClr>
                </a:solidFill>
              </a:rPr>
              <a:t>analysing</a:t>
            </a:r>
            <a:r>
              <a:rPr lang="en-US" sz="1764" dirty="0">
                <a:solidFill>
                  <a:srgbClr val="D8D8D8">
                    <a:lumMod val="10000"/>
                  </a:srgbClr>
                </a:solidFill>
              </a:rPr>
              <a:t> the scorecard and documenting and monitoring actions </a:t>
            </a:r>
          </a:p>
        </p:txBody>
      </p:sp>
    </p:spTree>
    <p:custDataLst>
      <p:tags r:id="rId1"/>
    </p:custDataLst>
    <p:extLst>
      <p:ext uri="{BB962C8B-B14F-4D97-AF65-F5344CB8AC3E}">
        <p14:creationId xmlns:p14="http://schemas.microsoft.com/office/powerpoint/2010/main" val="31110429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Who you should share the scorecard with</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1. Identify the key stakeholders </a:t>
            </a:r>
            <a:endParaRPr lang="en-GB" sz="2352" b="0" dirty="0">
              <a:solidFill>
                <a:prstClr val="black">
                  <a:lumMod val="65000"/>
                  <a:lumOff val="35000"/>
                </a:prstClr>
              </a:solidFill>
            </a:endParaRPr>
          </a:p>
        </p:txBody>
      </p:sp>
      <p:graphicFrame>
        <p:nvGraphicFramePr>
          <p:cNvPr id="3" name="Table 2">
            <a:extLst>
              <a:ext uri="{FF2B5EF4-FFF2-40B4-BE49-F238E27FC236}">
                <a16:creationId xmlns:a16="http://schemas.microsoft.com/office/drawing/2014/main" id="{AE28C470-73B2-4515-B1AA-8C51813E0FE0}"/>
              </a:ext>
            </a:extLst>
          </p:cNvPr>
          <p:cNvGraphicFramePr>
            <a:graphicFrameLocks noGrp="1"/>
          </p:cNvGraphicFramePr>
          <p:nvPr/>
        </p:nvGraphicFramePr>
        <p:xfrm>
          <a:off x="448072" y="1437762"/>
          <a:ext cx="8065294" cy="4744792"/>
        </p:xfrm>
        <a:graphic>
          <a:graphicData uri="http://schemas.openxmlformats.org/drawingml/2006/table">
            <a:tbl>
              <a:tblPr firstRow="1" bandRow="1">
                <a:tableStyleId>{C083E6E3-FA7D-4D7B-A595-EF9225AFEA82}</a:tableStyleId>
              </a:tblPr>
              <a:tblGrid>
                <a:gridCol w="1986311">
                  <a:extLst>
                    <a:ext uri="{9D8B030D-6E8A-4147-A177-3AD203B41FA5}">
                      <a16:colId xmlns:a16="http://schemas.microsoft.com/office/drawing/2014/main" val="1626781027"/>
                    </a:ext>
                  </a:extLst>
                </a:gridCol>
                <a:gridCol w="6078983">
                  <a:extLst>
                    <a:ext uri="{9D8B030D-6E8A-4147-A177-3AD203B41FA5}">
                      <a16:colId xmlns:a16="http://schemas.microsoft.com/office/drawing/2014/main" val="3864351043"/>
                    </a:ext>
                  </a:extLst>
                </a:gridCol>
              </a:tblGrid>
              <a:tr h="336113">
                <a:tc>
                  <a:txBody>
                    <a:bodyPr/>
                    <a:lstStyle/>
                    <a:p>
                      <a:r>
                        <a:rPr lang="en-US" sz="1400" dirty="0">
                          <a:latin typeface="Arial" panose="020B0604020202020204" pitchFamily="34" charset="0"/>
                          <a:cs typeface="Arial" panose="020B0604020202020204" pitchFamily="34" charset="0"/>
                        </a:rPr>
                        <a:t>Stakeholder</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en-US" sz="1400" dirty="0">
                          <a:latin typeface="Arial" panose="020B0604020202020204" pitchFamily="34" charset="0"/>
                          <a:cs typeface="Arial" panose="020B0604020202020204" pitchFamily="34" charset="0"/>
                        </a:rPr>
                        <a:t>Broad responsibility</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458275634"/>
                  </a:ext>
                </a:extLst>
              </a:tr>
              <a:tr h="804099">
                <a:tc>
                  <a:txBody>
                    <a:bodyPr/>
                    <a:lstStyle/>
                    <a:p>
                      <a:r>
                        <a:rPr lang="en-US" sz="1400" b="1" dirty="0">
                          <a:latin typeface="Arial" panose="020B0604020202020204" pitchFamily="34" charset="0"/>
                          <a:cs typeface="Arial" panose="020B0604020202020204" pitchFamily="34" charset="0"/>
                        </a:rPr>
                        <a:t>Political leade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Performance transparency</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Using political power and resources to improve health where it matters most</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3763787484"/>
                  </a:ext>
                </a:extLst>
              </a:tr>
              <a:tr h="853885">
                <a:tc>
                  <a:txBody>
                    <a:bodyPr/>
                    <a:lstStyle/>
                    <a:p>
                      <a:r>
                        <a:rPr lang="en-US" sz="1400" b="1" dirty="0" err="1">
                          <a:latin typeface="Arial" panose="020B0604020202020204" pitchFamily="34" charset="0"/>
                          <a:cs typeface="Arial" panose="020B0604020202020204" pitchFamily="34" charset="0"/>
                        </a:rPr>
                        <a:t>Programme</a:t>
                      </a:r>
                      <a:r>
                        <a:rPr lang="en-US" sz="1400" b="1" dirty="0">
                          <a:latin typeface="Arial" panose="020B0604020202020204" pitchFamily="34" charset="0"/>
                          <a:cs typeface="Arial" panose="020B0604020202020204" pitchFamily="34" charset="0"/>
                        </a:rPr>
                        <a:t> and Ministry of Health directo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Identifying key gaps in programming</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Changing policy to foster improvements </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Re-allocate resources to solve problems requiring funding</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2432029465"/>
                  </a:ext>
                </a:extLst>
              </a:tr>
              <a:tr h="1013199">
                <a:tc>
                  <a:txBody>
                    <a:bodyPr/>
                    <a:lstStyle/>
                    <a:p>
                      <a:r>
                        <a:rPr lang="en-US" sz="1400" b="1" dirty="0">
                          <a:latin typeface="Arial" panose="020B0604020202020204" pitchFamily="34" charset="0"/>
                          <a:cs typeface="Arial" panose="020B0604020202020204" pitchFamily="34" charset="0"/>
                        </a:rPr>
                        <a:t>Development partne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With Ministry of Health </a:t>
                      </a:r>
                      <a:r>
                        <a:rPr lang="en-US" sz="1400" dirty="0" err="1">
                          <a:latin typeface="Arial" panose="020B0604020202020204" pitchFamily="34" charset="0"/>
                          <a:cs typeface="Arial" panose="020B0604020202020204" pitchFamily="34" charset="0"/>
                        </a:rPr>
                        <a:t>programmes</a:t>
                      </a:r>
                      <a:r>
                        <a:rPr lang="en-US" sz="1400" dirty="0">
                          <a:latin typeface="Arial" panose="020B0604020202020204" pitchFamily="34" charset="0"/>
                          <a:cs typeface="Arial" panose="020B0604020202020204" pitchFamily="34" charset="0"/>
                        </a:rPr>
                        <a:t>, identifying and providing financial and/or human (such as technical assistance) resources for </a:t>
                      </a:r>
                      <a:r>
                        <a:rPr lang="en-US" sz="1400" dirty="0" err="1">
                          <a:latin typeface="Arial" panose="020B0604020202020204" pitchFamily="34" charset="0"/>
                          <a:cs typeface="Arial" panose="020B0604020202020204" pitchFamily="34" charset="0"/>
                        </a:rPr>
                        <a:t>programme</a:t>
                      </a:r>
                      <a:r>
                        <a:rPr lang="en-US" sz="1400" dirty="0">
                          <a:latin typeface="Arial" panose="020B0604020202020204" pitchFamily="34" charset="0"/>
                          <a:cs typeface="Arial" panose="020B0604020202020204" pitchFamily="34" charset="0"/>
                        </a:rPr>
                        <a:t> needs</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Engaging the community around specific bottleneck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3277323749"/>
                  </a:ext>
                </a:extLst>
              </a:tr>
              <a:tr h="853885">
                <a:tc>
                  <a:txBody>
                    <a:bodyPr/>
                    <a:lstStyle/>
                    <a:p>
                      <a:r>
                        <a:rPr lang="en-US" sz="1400" b="1" dirty="0">
                          <a:latin typeface="Arial" panose="020B0604020202020204" pitchFamily="34" charset="0"/>
                          <a:cs typeface="Arial" panose="020B0604020202020204" pitchFamily="34" charset="0"/>
                        </a:rPr>
                        <a:t>Subnational stakeholde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Supporting implementation</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Benchmarking performance, data validation</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Feedback on implementation effectivenes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2162624000"/>
                  </a:ext>
                </a:extLst>
              </a:tr>
              <a:tr h="804099">
                <a:tc>
                  <a:txBody>
                    <a:bodyPr/>
                    <a:lstStyle/>
                    <a:p>
                      <a:r>
                        <a:rPr lang="en-US" sz="1400" b="1" dirty="0">
                          <a:latin typeface="Arial" panose="020B0604020202020204" pitchFamily="34" charset="0"/>
                          <a:cs typeface="Arial" panose="020B0604020202020204" pitchFamily="34" charset="0"/>
                        </a:rPr>
                        <a:t>Community</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Validating and supplementing data</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Joint problem solving to identify bottlenecks and propose community-oriented solution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1339055020"/>
                  </a:ext>
                </a:extLst>
              </a:tr>
            </a:tbl>
          </a:graphicData>
        </a:graphic>
      </p:graphicFrame>
    </p:spTree>
    <p:custDataLst>
      <p:tags r:id="rId1"/>
    </p:custDataLst>
    <p:extLst>
      <p:ext uri="{BB962C8B-B14F-4D97-AF65-F5344CB8AC3E}">
        <p14:creationId xmlns:p14="http://schemas.microsoft.com/office/powerpoint/2010/main" val="22336080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Scorecard can be reviewed at all level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2. EXAMPLE: Identify existing accountability mechanisms</a:t>
            </a:r>
          </a:p>
        </p:txBody>
      </p:sp>
      <p:grpSp>
        <p:nvGrpSpPr>
          <p:cNvPr id="4" name="Group 3">
            <a:extLst>
              <a:ext uri="{FF2B5EF4-FFF2-40B4-BE49-F238E27FC236}">
                <a16:creationId xmlns:a16="http://schemas.microsoft.com/office/drawing/2014/main" id="{A0AF605C-36B3-4500-B8D8-497F19BC6C39}"/>
              </a:ext>
            </a:extLst>
          </p:cNvPr>
          <p:cNvGrpSpPr/>
          <p:nvPr/>
        </p:nvGrpSpPr>
        <p:grpSpPr>
          <a:xfrm>
            <a:off x="4540462" y="1357107"/>
            <a:ext cx="1926709" cy="4701021"/>
            <a:chOff x="4632960" y="1384552"/>
            <a:chExt cx="1965960" cy="4796790"/>
          </a:xfrm>
        </p:grpSpPr>
        <p:sp>
          <p:nvSpPr>
            <p:cNvPr id="81" name="Rectangle: Rounded Corners 80">
              <a:extLst>
                <a:ext uri="{FF2B5EF4-FFF2-40B4-BE49-F238E27FC236}">
                  <a16:creationId xmlns:a16="http://schemas.microsoft.com/office/drawing/2014/main" id="{C9DB5346-A7FE-4BF9-8127-528A8632DF40}"/>
                </a:ext>
              </a:extLst>
            </p:cNvPr>
            <p:cNvSpPr/>
            <p:nvPr/>
          </p:nvSpPr>
          <p:spPr>
            <a:xfrm>
              <a:off x="4632960" y="1384552"/>
              <a:ext cx="1965960" cy="4796790"/>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6" name="Title 4">
              <a:extLst>
                <a:ext uri="{FF2B5EF4-FFF2-40B4-BE49-F238E27FC236}">
                  <a16:creationId xmlns:a16="http://schemas.microsoft.com/office/drawing/2014/main" id="{812FFDA3-1485-4C01-93E5-6F233A48EF3C}"/>
                </a:ext>
              </a:extLst>
            </p:cNvPr>
            <p:cNvSpPr txBox="1">
              <a:spLocks/>
            </p:cNvSpPr>
            <p:nvPr/>
          </p:nvSpPr>
          <p:spPr>
            <a:xfrm>
              <a:off x="4734079" y="1500655"/>
              <a:ext cx="1763721" cy="2077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470" dirty="0">
                  <a:solidFill>
                    <a:srgbClr val="6F0710"/>
                  </a:solidFill>
                </a:rPr>
                <a:t>District level</a:t>
              </a:r>
            </a:p>
          </p:txBody>
        </p:sp>
        <p:sp>
          <p:nvSpPr>
            <p:cNvPr id="95" name="Text Placeholder 5">
              <a:extLst>
                <a:ext uri="{FF2B5EF4-FFF2-40B4-BE49-F238E27FC236}">
                  <a16:creationId xmlns:a16="http://schemas.microsoft.com/office/drawing/2014/main" id="{8D1D42AD-62E0-4EF0-AF5D-C19D67370D86}"/>
                </a:ext>
              </a:extLst>
            </p:cNvPr>
            <p:cNvSpPr txBox="1">
              <a:spLocks/>
            </p:cNvSpPr>
            <p:nvPr/>
          </p:nvSpPr>
          <p:spPr>
            <a:xfrm>
              <a:off x="4632960" y="3398897"/>
              <a:ext cx="1965960" cy="811287"/>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Health Management Committee</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District Management Committee</a:t>
              </a:r>
            </a:p>
          </p:txBody>
        </p:sp>
      </p:grpSp>
      <p:grpSp>
        <p:nvGrpSpPr>
          <p:cNvPr id="3" name="Group 2">
            <a:extLst>
              <a:ext uri="{FF2B5EF4-FFF2-40B4-BE49-F238E27FC236}">
                <a16:creationId xmlns:a16="http://schemas.microsoft.com/office/drawing/2014/main" id="{D8B373AF-EA09-47BF-9304-311CA6889317}"/>
              </a:ext>
            </a:extLst>
          </p:cNvPr>
          <p:cNvGrpSpPr/>
          <p:nvPr/>
        </p:nvGrpSpPr>
        <p:grpSpPr>
          <a:xfrm>
            <a:off x="2494267" y="1357108"/>
            <a:ext cx="1926709" cy="4701020"/>
            <a:chOff x="2545080" y="1384553"/>
            <a:chExt cx="1965960" cy="4796789"/>
          </a:xfrm>
        </p:grpSpPr>
        <p:sp>
          <p:nvSpPr>
            <p:cNvPr id="79" name="Rectangle: Rounded Corners 78">
              <a:extLst>
                <a:ext uri="{FF2B5EF4-FFF2-40B4-BE49-F238E27FC236}">
                  <a16:creationId xmlns:a16="http://schemas.microsoft.com/office/drawing/2014/main" id="{5EF6B35F-A5D6-40BF-B119-C96563179CD6}"/>
                </a:ext>
              </a:extLst>
            </p:cNvPr>
            <p:cNvSpPr/>
            <p:nvPr/>
          </p:nvSpPr>
          <p:spPr>
            <a:xfrm>
              <a:off x="2545080" y="1384553"/>
              <a:ext cx="1965960" cy="4796789"/>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38" name="Title 4">
              <a:extLst>
                <a:ext uri="{FF2B5EF4-FFF2-40B4-BE49-F238E27FC236}">
                  <a16:creationId xmlns:a16="http://schemas.microsoft.com/office/drawing/2014/main" id="{3735AB20-9160-4A78-B1FD-3EA17A037EE8}"/>
                </a:ext>
              </a:extLst>
            </p:cNvPr>
            <p:cNvSpPr txBox="1">
              <a:spLocks/>
            </p:cNvSpPr>
            <p:nvPr/>
          </p:nvSpPr>
          <p:spPr>
            <a:xfrm>
              <a:off x="2610669" y="1500655"/>
              <a:ext cx="1834782" cy="2077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470" dirty="0">
                  <a:solidFill>
                    <a:srgbClr val="6F0710"/>
                  </a:solidFill>
                </a:rPr>
                <a:t>Regional</a:t>
              </a:r>
            </a:p>
          </p:txBody>
        </p:sp>
        <p:sp>
          <p:nvSpPr>
            <p:cNvPr id="91" name="Text Placeholder 5">
              <a:extLst>
                <a:ext uri="{FF2B5EF4-FFF2-40B4-BE49-F238E27FC236}">
                  <a16:creationId xmlns:a16="http://schemas.microsoft.com/office/drawing/2014/main" id="{909A8D72-2C6A-4D50-ABCA-F0AB966990CB}"/>
                </a:ext>
              </a:extLst>
            </p:cNvPr>
            <p:cNvSpPr txBox="1">
              <a:spLocks/>
            </p:cNvSpPr>
            <p:nvPr/>
          </p:nvSpPr>
          <p:spPr>
            <a:xfrm>
              <a:off x="2545080" y="3398899"/>
              <a:ext cx="1965960" cy="1334698"/>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Regional Governors Forum</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Executive Council</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Health Management Committee</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Health Data Committee</a:t>
              </a:r>
            </a:p>
          </p:txBody>
        </p:sp>
      </p:grpSp>
      <p:sp>
        <p:nvSpPr>
          <p:cNvPr id="6" name="Rectangle: Rounded Corners 5">
            <a:extLst>
              <a:ext uri="{FF2B5EF4-FFF2-40B4-BE49-F238E27FC236}">
                <a16:creationId xmlns:a16="http://schemas.microsoft.com/office/drawing/2014/main" id="{9F30F852-1E9F-4BCC-B31D-D787A06326BD}"/>
              </a:ext>
            </a:extLst>
          </p:cNvPr>
          <p:cNvSpPr/>
          <p:nvPr/>
        </p:nvSpPr>
        <p:spPr>
          <a:xfrm>
            <a:off x="448072" y="1357109"/>
            <a:ext cx="1926709" cy="4701019"/>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B21D6E1F-5B67-475B-A141-F8FF93EEEB00}"/>
              </a:ext>
            </a:extLst>
          </p:cNvPr>
          <p:cNvSpPr txBox="1">
            <a:spLocks/>
          </p:cNvSpPr>
          <p:nvPr/>
        </p:nvSpPr>
        <p:spPr>
          <a:xfrm>
            <a:off x="448072" y="1470893"/>
            <a:ext cx="1926709" cy="203601"/>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470" dirty="0">
                <a:solidFill>
                  <a:srgbClr val="6F0710"/>
                </a:solidFill>
              </a:rPr>
              <a:t>National</a:t>
            </a:r>
          </a:p>
        </p:txBody>
      </p:sp>
      <p:sp>
        <p:nvSpPr>
          <p:cNvPr id="93" name="Text Placeholder 5">
            <a:extLst>
              <a:ext uri="{FF2B5EF4-FFF2-40B4-BE49-F238E27FC236}">
                <a16:creationId xmlns:a16="http://schemas.microsoft.com/office/drawing/2014/main" id="{BC9D925B-C9EF-4DE1-A8DF-B711BEE2E173}"/>
              </a:ext>
            </a:extLst>
          </p:cNvPr>
          <p:cNvSpPr txBox="1">
            <a:spLocks/>
          </p:cNvSpPr>
          <p:nvPr/>
        </p:nvSpPr>
        <p:spPr>
          <a:xfrm>
            <a:off x="448072" y="3331236"/>
            <a:ext cx="1926709" cy="2718693"/>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National Cabinet Meetings</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National Council on Health</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National Technical Working Groups (e.g. RMNCAH+N, Malaria, M&amp;E)</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Annual Health Stakeholders Forum</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Parliamentarian Committee for Health</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End Malaria Councils</a:t>
            </a:r>
          </a:p>
        </p:txBody>
      </p:sp>
      <p:grpSp>
        <p:nvGrpSpPr>
          <p:cNvPr id="5" name="Group 4">
            <a:extLst>
              <a:ext uri="{FF2B5EF4-FFF2-40B4-BE49-F238E27FC236}">
                <a16:creationId xmlns:a16="http://schemas.microsoft.com/office/drawing/2014/main" id="{503319B4-F92E-4014-BA89-EE3CFBAC944C}"/>
              </a:ext>
            </a:extLst>
          </p:cNvPr>
          <p:cNvGrpSpPr/>
          <p:nvPr/>
        </p:nvGrpSpPr>
        <p:grpSpPr>
          <a:xfrm>
            <a:off x="6586657" y="1357109"/>
            <a:ext cx="1926709" cy="4701021"/>
            <a:chOff x="6720840" y="1384554"/>
            <a:chExt cx="1965960" cy="4796790"/>
          </a:xfrm>
        </p:grpSpPr>
        <p:sp>
          <p:nvSpPr>
            <p:cNvPr id="77" name="Rectangle: Rounded Corners 76">
              <a:extLst>
                <a:ext uri="{FF2B5EF4-FFF2-40B4-BE49-F238E27FC236}">
                  <a16:creationId xmlns:a16="http://schemas.microsoft.com/office/drawing/2014/main" id="{303A3C98-FC4C-4068-930E-2E9B5FA8503E}"/>
                </a:ext>
              </a:extLst>
            </p:cNvPr>
            <p:cNvSpPr/>
            <p:nvPr/>
          </p:nvSpPr>
          <p:spPr>
            <a:xfrm>
              <a:off x="6720840" y="1384554"/>
              <a:ext cx="1965960" cy="4796790"/>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54" name="Title 4">
              <a:extLst>
                <a:ext uri="{FF2B5EF4-FFF2-40B4-BE49-F238E27FC236}">
                  <a16:creationId xmlns:a16="http://schemas.microsoft.com/office/drawing/2014/main" id="{BE19112A-F57A-444B-8EF4-F8DE4E91C323}"/>
                </a:ext>
              </a:extLst>
            </p:cNvPr>
            <p:cNvSpPr txBox="1">
              <a:spLocks/>
            </p:cNvSpPr>
            <p:nvPr/>
          </p:nvSpPr>
          <p:spPr>
            <a:xfrm>
              <a:off x="6869737" y="1500655"/>
              <a:ext cx="1668165" cy="2077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470" dirty="0">
                  <a:solidFill>
                    <a:srgbClr val="6F0710"/>
                  </a:solidFill>
                </a:rPr>
                <a:t>Community level</a:t>
              </a:r>
            </a:p>
          </p:txBody>
        </p:sp>
        <p:sp>
          <p:nvSpPr>
            <p:cNvPr id="97" name="Text Placeholder 5">
              <a:extLst>
                <a:ext uri="{FF2B5EF4-FFF2-40B4-BE49-F238E27FC236}">
                  <a16:creationId xmlns:a16="http://schemas.microsoft.com/office/drawing/2014/main" id="{83E16992-3AC1-4BC7-8117-8AB90AD2A6EA}"/>
                </a:ext>
              </a:extLst>
            </p:cNvPr>
            <p:cNvSpPr txBox="1">
              <a:spLocks/>
            </p:cNvSpPr>
            <p:nvPr/>
          </p:nvSpPr>
          <p:spPr>
            <a:xfrm>
              <a:off x="6720840" y="3398896"/>
              <a:ext cx="1965960" cy="1517892"/>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Village Health Committee</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Village Management Committee</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Traditional leaders public hearings</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Community Town Halls</a:t>
              </a:r>
            </a:p>
          </p:txBody>
        </p:sp>
      </p:grpSp>
      <p:pic>
        <p:nvPicPr>
          <p:cNvPr id="7" name="Picture 6">
            <a:extLst>
              <a:ext uri="{FF2B5EF4-FFF2-40B4-BE49-F238E27FC236}">
                <a16:creationId xmlns:a16="http://schemas.microsoft.com/office/drawing/2014/main" id="{1B5522D4-CE15-4EBF-9451-FCF426450532}"/>
              </a:ext>
            </a:extLst>
          </p:cNvPr>
          <p:cNvPicPr>
            <a:picLocks noChangeAspect="1"/>
          </p:cNvPicPr>
          <p:nvPr/>
        </p:nvPicPr>
        <p:blipFill>
          <a:blip r:embed="rId3">
            <a:duotone>
              <a:srgbClr val="C00000">
                <a:shade val="45000"/>
                <a:satMod val="135000"/>
              </a:srgbClr>
              <a:prstClr val="white"/>
            </a:duotone>
            <a:extLst>
              <a:ext uri="{BEBA8EAE-BF5A-486C-A8C5-ECC9F3942E4B}">
                <a14:imgProps xmlns:a14="http://schemas.microsoft.com/office/drawing/2010/main">
                  <a14:imgLayer r:embed="rId4">
                    <a14:imgEffect>
                      <a14:backgroundRemoval t="9711" b="94008" l="3297" r="96593">
                        <a14:foregroundMark x1="22747" y1="49174" x2="33956" y2="42769"/>
                        <a14:foregroundMark x1="5275" y1="28099" x2="9560" y2="28099"/>
                        <a14:foregroundMark x1="5714" y1="47314" x2="3297" y2="47314"/>
                        <a14:foregroundMark x1="93736" y1="49174" x2="96703" y2="49174"/>
                        <a14:foregroundMark x1="64615" y1="94008" x2="72857" y2="92149"/>
                      </a14:backgroundRemoval>
                    </a14:imgEffect>
                  </a14:imgLayer>
                </a14:imgProps>
              </a:ext>
            </a:extLst>
          </a:blip>
          <a:stretch>
            <a:fillRect/>
          </a:stretch>
        </p:blipFill>
        <p:spPr>
          <a:xfrm>
            <a:off x="617593" y="2013709"/>
            <a:ext cx="1589454" cy="845380"/>
          </a:xfrm>
          <a:prstGeom prst="rect">
            <a:avLst/>
          </a:prstGeom>
        </p:spPr>
      </p:pic>
      <p:pic>
        <p:nvPicPr>
          <p:cNvPr id="8" name="Picture 7">
            <a:extLst>
              <a:ext uri="{FF2B5EF4-FFF2-40B4-BE49-F238E27FC236}">
                <a16:creationId xmlns:a16="http://schemas.microsoft.com/office/drawing/2014/main" id="{56C28EBE-4876-47EF-856C-90E377259733}"/>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711" b="95661" l="4615" r="95824">
                        <a14:foregroundMark x1="8132" y1="31198" x2="13736" y2="36570"/>
                        <a14:foregroundMark x1="7143" y1="51446" x2="4835" y2="51446"/>
                        <a14:foregroundMark x1="91758" y1="47107" x2="95934" y2="47934"/>
                        <a14:foregroundMark x1="64945" y1="95661" x2="70659" y2="95661"/>
                      </a14:backgroundRemoval>
                    </a14:imgEffect>
                  </a14:imgLayer>
                </a14:imgProps>
              </a:ext>
            </a:extLst>
          </a:blip>
          <a:stretch>
            <a:fillRect/>
          </a:stretch>
        </p:blipFill>
        <p:spPr>
          <a:xfrm>
            <a:off x="2662894" y="2013709"/>
            <a:ext cx="1589456" cy="845381"/>
          </a:xfrm>
          <a:prstGeom prst="rect">
            <a:avLst/>
          </a:prstGeom>
        </p:spPr>
      </p:pic>
      <p:pic>
        <p:nvPicPr>
          <p:cNvPr id="10" name="Picture 9">
            <a:extLst>
              <a:ext uri="{FF2B5EF4-FFF2-40B4-BE49-F238E27FC236}">
                <a16:creationId xmlns:a16="http://schemas.microsoft.com/office/drawing/2014/main" id="{A16F1989-753A-4558-AF47-78E2BB03DBE8}"/>
              </a:ext>
            </a:extLst>
          </p:cNvPr>
          <p:cNvPicPr>
            <a:picLocks noChangeAspect="1"/>
          </p:cNvPicPr>
          <p:nvPr/>
        </p:nvPicPr>
        <p:blipFill rotWithShape="1">
          <a:blip r:embed="rId7">
            <a:extLst>
              <a:ext uri="{BEBA8EAE-BF5A-486C-A8C5-ECC9F3942E4B}">
                <a14:imgProps xmlns:a14="http://schemas.microsoft.com/office/drawing/2010/main">
                  <a14:imgLayer r:embed="rId6">
                    <a14:imgEffect>
                      <a14:backgroundRemoval t="19215" b="96901" l="52088" r="96484">
                        <a14:foregroundMark x1="66813" y1="30785" x2="71099" y2="30785"/>
                        <a14:foregroundMark x1="94835" y1="46694" x2="96813" y2="46694"/>
                        <a14:foregroundMark x1="59890" y1="92769" x2="65385" y2="93802"/>
                        <a14:foregroundMark x1="63297" y1="97107" x2="65385" y2="96488"/>
                        <a14:foregroundMark x1="57802" y1="61777" x2="59011" y2="88430"/>
                        <a14:foregroundMark x1="61319" y1="84091" x2="61538" y2="56405"/>
                        <a14:foregroundMark x1="64505" y1="53719" x2="70000" y2="53099"/>
                        <a14:foregroundMark x1="57253" y1="54752" x2="56044" y2="44421"/>
                        <a14:foregroundMark x1="56374" y1="35744" x2="56703" y2="31405"/>
                        <a14:foregroundMark x1="58681" y1="43388" x2="58132" y2="26033"/>
                        <a14:foregroundMark x1="55824" y1="47107" x2="56923" y2="19421"/>
                        <a14:foregroundMark x1="60110" y1="87810" x2="54066" y2="83471"/>
                        <a14:foregroundMark x1="57253" y1="70041" x2="53187" y2="60124"/>
                        <a14:foregroundMark x1="60440" y1="89463" x2="52088" y2="67769"/>
                        <a14:foregroundMark x1="62198" y1="86777" x2="58681" y2="80785"/>
                        <a14:foregroundMark x1="58352" y1="53719" x2="54615" y2="41116"/>
                        <a14:foregroundMark x1="55824" y1="58058" x2="53516" y2="45455"/>
                        <a14:foregroundMark x1="55824" y1="52479" x2="55824" y2="30372"/>
                        <a14:foregroundMark x1="55824" y1="42769" x2="54615" y2="29752"/>
                        <a14:foregroundMark x1="56703" y1="84091" x2="53187" y2="68802"/>
                      </a14:backgroundRemoval>
                    </a14:imgEffect>
                  </a14:imgLayer>
                </a14:imgProps>
              </a:ext>
            </a:extLst>
          </a:blip>
          <a:srcRect l="54745" t="27244"/>
          <a:stretch/>
        </p:blipFill>
        <p:spPr>
          <a:xfrm>
            <a:off x="4980973" y="2013616"/>
            <a:ext cx="1112027" cy="950880"/>
          </a:xfrm>
          <a:prstGeom prst="rect">
            <a:avLst/>
          </a:prstGeom>
        </p:spPr>
      </p:pic>
      <p:sp>
        <p:nvSpPr>
          <p:cNvPr id="12" name="Freeform 396" descr="© INSCALE GmbH, 21.06.2010">
            <a:extLst>
              <a:ext uri="{FF2B5EF4-FFF2-40B4-BE49-F238E27FC236}">
                <a16:creationId xmlns:a16="http://schemas.microsoft.com/office/drawing/2014/main" id="{00BA8192-6613-48D6-843A-8EDE9DA31AD9}"/>
              </a:ext>
            </a:extLst>
          </p:cNvPr>
          <p:cNvSpPr>
            <a:spLocks noChangeAspect="1" noEditPoints="1"/>
          </p:cNvSpPr>
          <p:nvPr/>
        </p:nvSpPr>
        <p:spPr bwMode="gray">
          <a:xfrm>
            <a:off x="5335580" y="2231073"/>
            <a:ext cx="570415" cy="572369"/>
          </a:xfrm>
          <a:custGeom>
            <a:avLst/>
            <a:gdLst>
              <a:gd name="T0" fmla="*/ 1 w 2218"/>
              <a:gd name="T1" fmla="*/ 1 h 2219"/>
              <a:gd name="T2" fmla="*/ 0 w 2218"/>
              <a:gd name="T3" fmla="*/ 0 h 2219"/>
              <a:gd name="T4" fmla="*/ 0 w 2218"/>
              <a:gd name="T5" fmla="*/ 0 h 2219"/>
              <a:gd name="T6" fmla="*/ 0 w 2218"/>
              <a:gd name="T7" fmla="*/ 0 h 2219"/>
              <a:gd name="T8" fmla="*/ 0 w 2218"/>
              <a:gd name="T9" fmla="*/ 0 h 2219"/>
              <a:gd name="T10" fmla="*/ 0 w 2218"/>
              <a:gd name="T11" fmla="*/ 0 h 2219"/>
              <a:gd name="T12" fmla="*/ 0 w 2218"/>
              <a:gd name="T13" fmla="*/ 0 h 2219"/>
              <a:gd name="T14" fmla="*/ 0 w 2218"/>
              <a:gd name="T15" fmla="*/ 1 h 2219"/>
              <a:gd name="T16" fmla="*/ 0 w 2218"/>
              <a:gd name="T17" fmla="*/ 0 h 2219"/>
              <a:gd name="T18" fmla="*/ 0 w 2218"/>
              <a:gd name="T19" fmla="*/ 0 h 2219"/>
              <a:gd name="T20" fmla="*/ 1 w 2218"/>
              <a:gd name="T21" fmla="*/ 1 h 2219"/>
              <a:gd name="T22" fmla="*/ 1 w 2218"/>
              <a:gd name="T23" fmla="*/ 1 h 2219"/>
              <a:gd name="T24" fmla="*/ 1 w 2218"/>
              <a:gd name="T25" fmla="*/ 1 h 2219"/>
              <a:gd name="T26" fmla="*/ 1 w 2218"/>
              <a:gd name="T27" fmla="*/ 1 h 2219"/>
              <a:gd name="T28" fmla="*/ 0 w 2218"/>
              <a:gd name="T29" fmla="*/ 0 h 2219"/>
              <a:gd name="T30" fmla="*/ 0 w 2218"/>
              <a:gd name="T31" fmla="*/ 0 h 2219"/>
              <a:gd name="T32" fmla="*/ 0 w 2218"/>
              <a:gd name="T33" fmla="*/ 0 h 2219"/>
              <a:gd name="T34" fmla="*/ 0 w 2218"/>
              <a:gd name="T35" fmla="*/ 0 h 2219"/>
              <a:gd name="T36" fmla="*/ 0 w 2218"/>
              <a:gd name="T37" fmla="*/ 0 h 2219"/>
              <a:gd name="T38" fmla="*/ 0 w 2218"/>
              <a:gd name="T39" fmla="*/ 0 h 2219"/>
              <a:gd name="T40" fmla="*/ 0 w 2218"/>
              <a:gd name="T41" fmla="*/ 0 h 2219"/>
              <a:gd name="T42" fmla="*/ 0 w 2218"/>
              <a:gd name="T43" fmla="*/ 0 h 2219"/>
              <a:gd name="T44" fmla="*/ 0 w 2218"/>
              <a:gd name="T45" fmla="*/ 0 h 2219"/>
              <a:gd name="T46" fmla="*/ 0 w 2218"/>
              <a:gd name="T47" fmla="*/ 0 h 2219"/>
              <a:gd name="T48" fmla="*/ 0 w 2218"/>
              <a:gd name="T49" fmla="*/ 0 h 2219"/>
              <a:gd name="T50" fmla="*/ 0 w 2218"/>
              <a:gd name="T51" fmla="*/ 0 h 2219"/>
              <a:gd name="T52" fmla="*/ 0 w 2218"/>
              <a:gd name="T53" fmla="*/ 0 h 2219"/>
              <a:gd name="T54" fmla="*/ 0 w 2218"/>
              <a:gd name="T55" fmla="*/ 0 h 221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18"/>
              <a:gd name="T85" fmla="*/ 0 h 2219"/>
              <a:gd name="T86" fmla="*/ 2218 w 2218"/>
              <a:gd name="T87" fmla="*/ 2219 h 221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18" h="2219">
                <a:moveTo>
                  <a:pt x="2186" y="1917"/>
                </a:moveTo>
                <a:cubicBezTo>
                  <a:pt x="1506" y="1238"/>
                  <a:pt x="1506" y="1238"/>
                  <a:pt x="1506" y="1238"/>
                </a:cubicBezTo>
                <a:cubicBezTo>
                  <a:pt x="1504" y="1235"/>
                  <a:pt x="1501" y="1234"/>
                  <a:pt x="1499" y="1232"/>
                </a:cubicBezTo>
                <a:cubicBezTo>
                  <a:pt x="1568" y="1114"/>
                  <a:pt x="1606" y="981"/>
                  <a:pt x="1606" y="841"/>
                </a:cubicBezTo>
                <a:cubicBezTo>
                  <a:pt x="1606" y="636"/>
                  <a:pt x="1526" y="444"/>
                  <a:pt x="1382" y="299"/>
                </a:cubicBezTo>
                <a:cubicBezTo>
                  <a:pt x="1083" y="0"/>
                  <a:pt x="597" y="0"/>
                  <a:pt x="298" y="299"/>
                </a:cubicBezTo>
                <a:cubicBezTo>
                  <a:pt x="0" y="598"/>
                  <a:pt x="0" y="1084"/>
                  <a:pt x="298" y="1383"/>
                </a:cubicBezTo>
                <a:cubicBezTo>
                  <a:pt x="443" y="1527"/>
                  <a:pt x="635" y="1607"/>
                  <a:pt x="840" y="1607"/>
                </a:cubicBezTo>
                <a:cubicBezTo>
                  <a:pt x="980" y="1607"/>
                  <a:pt x="1114" y="1569"/>
                  <a:pt x="1231" y="1499"/>
                </a:cubicBezTo>
                <a:cubicBezTo>
                  <a:pt x="1233" y="1502"/>
                  <a:pt x="1234" y="1505"/>
                  <a:pt x="1237" y="1507"/>
                </a:cubicBezTo>
                <a:cubicBezTo>
                  <a:pt x="1916" y="2187"/>
                  <a:pt x="1916" y="2187"/>
                  <a:pt x="1916" y="2187"/>
                </a:cubicBezTo>
                <a:cubicBezTo>
                  <a:pt x="1949" y="2219"/>
                  <a:pt x="2005" y="2215"/>
                  <a:pt x="2043" y="2177"/>
                </a:cubicBezTo>
                <a:cubicBezTo>
                  <a:pt x="2176" y="2044"/>
                  <a:pt x="2176" y="2044"/>
                  <a:pt x="2176" y="2044"/>
                </a:cubicBezTo>
                <a:cubicBezTo>
                  <a:pt x="2214" y="2006"/>
                  <a:pt x="2218" y="1950"/>
                  <a:pt x="2186" y="1917"/>
                </a:cubicBezTo>
                <a:close/>
                <a:moveTo>
                  <a:pt x="840" y="1413"/>
                </a:moveTo>
                <a:cubicBezTo>
                  <a:pt x="687" y="1414"/>
                  <a:pt x="543" y="1354"/>
                  <a:pt x="435" y="1246"/>
                </a:cubicBezTo>
                <a:cubicBezTo>
                  <a:pt x="212" y="1023"/>
                  <a:pt x="212" y="659"/>
                  <a:pt x="435" y="436"/>
                </a:cubicBezTo>
                <a:cubicBezTo>
                  <a:pt x="658" y="213"/>
                  <a:pt x="1022" y="213"/>
                  <a:pt x="1245" y="436"/>
                </a:cubicBezTo>
                <a:cubicBezTo>
                  <a:pt x="1353" y="544"/>
                  <a:pt x="1413" y="688"/>
                  <a:pt x="1413" y="841"/>
                </a:cubicBezTo>
                <a:cubicBezTo>
                  <a:pt x="1413" y="994"/>
                  <a:pt x="1353" y="1138"/>
                  <a:pt x="1245" y="1246"/>
                </a:cubicBezTo>
                <a:cubicBezTo>
                  <a:pt x="1137" y="1354"/>
                  <a:pt x="993" y="1413"/>
                  <a:pt x="840" y="1413"/>
                </a:cubicBezTo>
                <a:close/>
                <a:moveTo>
                  <a:pt x="609" y="1002"/>
                </a:moveTo>
                <a:cubicBezTo>
                  <a:pt x="508" y="901"/>
                  <a:pt x="508" y="737"/>
                  <a:pt x="609" y="636"/>
                </a:cubicBezTo>
                <a:cubicBezTo>
                  <a:pt x="637" y="607"/>
                  <a:pt x="637" y="561"/>
                  <a:pt x="609" y="533"/>
                </a:cubicBezTo>
                <a:cubicBezTo>
                  <a:pt x="580" y="505"/>
                  <a:pt x="534" y="505"/>
                  <a:pt x="506" y="533"/>
                </a:cubicBezTo>
                <a:cubicBezTo>
                  <a:pt x="348" y="690"/>
                  <a:pt x="348" y="947"/>
                  <a:pt x="506" y="1105"/>
                </a:cubicBezTo>
                <a:cubicBezTo>
                  <a:pt x="534" y="1133"/>
                  <a:pt x="580" y="1133"/>
                  <a:pt x="609" y="1105"/>
                </a:cubicBezTo>
                <a:cubicBezTo>
                  <a:pt x="637" y="1076"/>
                  <a:pt x="637" y="1030"/>
                  <a:pt x="609" y="1002"/>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lIns="91393" tIns="45696" rIns="91393" bIns="45696"/>
          <a:lstStyle/>
          <a:p>
            <a:pPr defTabSz="914303"/>
            <a:endParaRPr lang="en-GB" sz="1568">
              <a:solidFill>
                <a:prstClr val="black"/>
              </a:solidFill>
            </a:endParaRPr>
          </a:p>
        </p:txBody>
      </p:sp>
      <p:pic>
        <p:nvPicPr>
          <p:cNvPr id="13" name="Picture 3">
            <a:extLst>
              <a:ext uri="{FF2B5EF4-FFF2-40B4-BE49-F238E27FC236}">
                <a16:creationId xmlns:a16="http://schemas.microsoft.com/office/drawing/2014/main" id="{CD99F5BF-4C74-48C3-9262-F292CDD1127E}"/>
              </a:ext>
            </a:extLst>
          </p:cNvPr>
          <p:cNvPicPr>
            <a:picLocks noChangeAspect="1" noChangeArrowheads="1"/>
          </p:cNvPicPr>
          <p:nvPr/>
        </p:nvPicPr>
        <p:blipFill>
          <a:blip r:embed="rId8" cstate="print">
            <a:duotone>
              <a:schemeClr val="accent4">
                <a:shade val="45000"/>
                <a:satMod val="135000"/>
              </a:schemeClr>
              <a:prstClr val="white"/>
            </a:duotone>
          </a:blip>
          <a:srcRect/>
          <a:stretch>
            <a:fillRect/>
          </a:stretch>
        </p:blipFill>
        <p:spPr bwMode="auto">
          <a:xfrm>
            <a:off x="6891063" y="2004695"/>
            <a:ext cx="1367618" cy="937849"/>
          </a:xfrm>
          <a:prstGeom prst="rect">
            <a:avLst/>
          </a:prstGeom>
          <a:noFill/>
          <a:ln w="9525">
            <a:noFill/>
            <a:miter lim="800000"/>
            <a:headEnd/>
            <a:tailEnd/>
          </a:ln>
          <a:effectLst/>
        </p:spPr>
      </p:pic>
    </p:spTree>
    <p:custDataLst>
      <p:tags r:id="rId1"/>
    </p:custDataLst>
    <p:extLst>
      <p:ext uri="{BB962C8B-B14F-4D97-AF65-F5344CB8AC3E}">
        <p14:creationId xmlns:p14="http://schemas.microsoft.com/office/powerpoint/2010/main" val="40361001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19376" y="674854"/>
            <a:ext cx="5256141" cy="2536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399" tIns="45699" rIns="91399" bIns="45699"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Title 1"/>
          <p:cNvSpPr txBox="1">
            <a:spLocks/>
          </p:cNvSpPr>
          <p:nvPr>
            <p:custDataLst>
              <p:tags r:id="rId1"/>
            </p:custDataLst>
          </p:nvPr>
        </p:nvSpPr>
        <p:spPr bwMode="auto">
          <a:xfrm>
            <a:off x="305614" y="287660"/>
            <a:ext cx="6873855" cy="6032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fr-FR" sz="1960" b="1" i="0" u="none" strike="noStrike" kern="1200" cap="none" spc="0" normalizeH="0" baseline="0" noProof="0" dirty="0" err="1">
                <a:ln>
                  <a:noFill/>
                </a:ln>
                <a:solidFill>
                  <a:srgbClr val="39302A"/>
                </a:solidFill>
                <a:effectLst/>
                <a:uLnTx/>
                <a:uFillTx/>
                <a:latin typeface="Arial"/>
                <a:ea typeface="+mj-ea"/>
                <a:cs typeface="+mj-cs"/>
              </a:rPr>
              <a:t>Into</a:t>
            </a:r>
            <a:r>
              <a:rPr kumimoji="0" lang="fr-FR" sz="1960" b="1" i="0" u="none" strike="noStrike" kern="1200" cap="none" spc="0" normalizeH="0" baseline="0" noProof="0" dirty="0">
                <a:ln>
                  <a:noFill/>
                </a:ln>
                <a:solidFill>
                  <a:srgbClr val="39302A"/>
                </a:solidFill>
                <a:effectLst/>
                <a:uLnTx/>
                <a:uFillTx/>
                <a:latin typeface="Arial"/>
                <a:ea typeface="+mj-ea"/>
                <a:cs typeface="+mj-cs"/>
              </a:rPr>
              <a:t> </a:t>
            </a:r>
            <a:r>
              <a:rPr kumimoji="0" lang="fr-FR" sz="1960" b="1" i="0" u="none" strike="noStrike" kern="1200" cap="none" spc="0" normalizeH="0" baseline="0" noProof="0" dirty="0" err="1">
                <a:ln>
                  <a:noFill/>
                </a:ln>
                <a:solidFill>
                  <a:srgbClr val="39302A"/>
                </a:solidFill>
                <a:effectLst/>
                <a:uLnTx/>
                <a:uFillTx/>
                <a:latin typeface="Arial"/>
                <a:ea typeface="+mj-ea"/>
                <a:cs typeface="+mj-cs"/>
              </a:rPr>
              <a:t>what</a:t>
            </a:r>
            <a:r>
              <a:rPr kumimoji="0" lang="fr-FR" sz="1960" b="1" i="0" u="none" strike="noStrike" kern="1200" cap="none" spc="0" normalizeH="0" baseline="0" noProof="0" dirty="0">
                <a:ln>
                  <a:noFill/>
                </a:ln>
                <a:solidFill>
                  <a:srgbClr val="39302A"/>
                </a:solidFill>
                <a:effectLst/>
                <a:uLnTx/>
                <a:uFillTx/>
                <a:latin typeface="Arial"/>
                <a:ea typeface="+mj-ea"/>
                <a:cs typeface="+mj-cs"/>
              </a:rPr>
              <a:t> </a:t>
            </a:r>
            <a:r>
              <a:rPr kumimoji="0" lang="fr-FR" sz="1960" b="1" i="0" u="none" strike="noStrike" kern="1200" cap="none" spc="0" normalizeH="0" baseline="0" noProof="0" dirty="0" err="1">
                <a:ln>
                  <a:noFill/>
                </a:ln>
                <a:solidFill>
                  <a:srgbClr val="39302A"/>
                </a:solidFill>
                <a:effectLst/>
                <a:uLnTx/>
                <a:uFillTx/>
                <a:latin typeface="Arial"/>
                <a:ea typeface="+mj-ea"/>
                <a:cs typeface="+mj-cs"/>
              </a:rPr>
              <a:t>existing</a:t>
            </a:r>
            <a:r>
              <a:rPr kumimoji="0" lang="fr-FR" sz="1960" b="1" i="0" u="none" strike="noStrike" kern="1200" cap="none" spc="0" normalizeH="0" baseline="0" noProof="0" dirty="0">
                <a:ln>
                  <a:noFill/>
                </a:ln>
                <a:solidFill>
                  <a:srgbClr val="39302A"/>
                </a:solidFill>
                <a:effectLst/>
                <a:uLnTx/>
                <a:uFillTx/>
                <a:latin typeface="Arial"/>
                <a:ea typeface="+mj-ea"/>
                <a:cs typeface="+mj-cs"/>
              </a:rPr>
              <a:t> management meetings can the scorecard </a:t>
            </a:r>
            <a:r>
              <a:rPr kumimoji="0" lang="fr-FR" sz="1960" b="1" i="0" u="none" strike="noStrike" kern="1200" cap="none" spc="0" normalizeH="0" baseline="0" noProof="0" dirty="0" err="1">
                <a:ln>
                  <a:noFill/>
                </a:ln>
                <a:solidFill>
                  <a:srgbClr val="39302A"/>
                </a:solidFill>
                <a:effectLst/>
                <a:uLnTx/>
                <a:uFillTx/>
                <a:latin typeface="Arial"/>
                <a:ea typeface="+mj-ea"/>
                <a:cs typeface="+mj-cs"/>
              </a:rPr>
              <a:t>be</a:t>
            </a:r>
            <a:r>
              <a:rPr kumimoji="0" lang="fr-FR" sz="1960" b="1" i="0" u="none" strike="noStrike" kern="1200" cap="none" spc="0" normalizeH="0" baseline="0" noProof="0" dirty="0">
                <a:ln>
                  <a:noFill/>
                </a:ln>
                <a:solidFill>
                  <a:srgbClr val="39302A"/>
                </a:solidFill>
                <a:effectLst/>
                <a:uLnTx/>
                <a:uFillTx/>
                <a:latin typeface="Arial"/>
                <a:ea typeface="+mj-ea"/>
                <a:cs typeface="+mj-cs"/>
              </a:rPr>
              <a:t> </a:t>
            </a:r>
            <a:r>
              <a:rPr kumimoji="0" lang="fr-FR" sz="1960" b="1" i="0" u="none" strike="noStrike" kern="1200" cap="none" spc="0" normalizeH="0" baseline="0" noProof="0" dirty="0" err="1">
                <a:ln>
                  <a:noFill/>
                </a:ln>
                <a:solidFill>
                  <a:srgbClr val="39302A"/>
                </a:solidFill>
                <a:effectLst/>
                <a:uLnTx/>
                <a:uFillTx/>
                <a:latin typeface="Arial"/>
                <a:ea typeface="+mj-ea"/>
                <a:cs typeface="+mj-cs"/>
              </a:rPr>
              <a:t>integrated</a:t>
            </a:r>
            <a:r>
              <a:rPr kumimoji="0" lang="fr-FR" sz="1960" b="1" i="0" u="none" strike="noStrike" kern="1200" cap="none" spc="0" normalizeH="0" baseline="0" noProof="0" dirty="0">
                <a:ln>
                  <a:noFill/>
                </a:ln>
                <a:solidFill>
                  <a:srgbClr val="39302A"/>
                </a:solidFill>
                <a:effectLst/>
                <a:uLnTx/>
                <a:uFillTx/>
                <a:latin typeface="Arial"/>
                <a:ea typeface="+mj-ea"/>
                <a:cs typeface="+mj-cs"/>
              </a:rPr>
              <a:t>?</a:t>
            </a:r>
            <a:endParaRPr kumimoji="0" lang="en-US" sz="1862" b="1" i="0" u="none" strike="noStrike" kern="0" cap="none" spc="0" normalizeH="0" baseline="0" noProof="0" dirty="0">
              <a:ln>
                <a:noFill/>
              </a:ln>
              <a:solidFill>
                <a:srgbClr val="39302A"/>
              </a:solidFill>
              <a:effectLst/>
              <a:uLnTx/>
              <a:uFillTx/>
              <a:latin typeface="Arial"/>
              <a:ea typeface="+mj-ea"/>
              <a:cs typeface="+mj-cs"/>
            </a:endParaRPr>
          </a:p>
        </p:txBody>
      </p:sp>
      <p:sp>
        <p:nvSpPr>
          <p:cNvPr id="54" name="TextBox 53"/>
          <p:cNvSpPr txBox="1"/>
          <p:nvPr/>
        </p:nvSpPr>
        <p:spPr>
          <a:xfrm>
            <a:off x="596630" y="1189157"/>
            <a:ext cx="1743034" cy="338498"/>
          </a:xfrm>
          <a:prstGeom prst="rect">
            <a:avLst/>
          </a:prstGeom>
          <a:solidFill>
            <a:schemeClr val="accent1"/>
          </a:solidFill>
        </p:spPr>
        <p:txBody>
          <a:bodyPr wrap="square" lIns="91399" tIns="45699" rIns="91399" bIns="45699"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68" b="0" i="0" u="none" strike="noStrike" kern="1200" cap="none" spc="0" normalizeH="0" baseline="0" noProof="0" dirty="0">
                <a:ln>
                  <a:noFill/>
                </a:ln>
                <a:solidFill>
                  <a:prstClr val="black"/>
                </a:solidFill>
                <a:effectLst/>
                <a:uLnTx/>
                <a:uFillTx/>
                <a:latin typeface="EYInterstate Regular" panose="02000503020000020004" pitchFamily="2" charset="0"/>
                <a:ea typeface="+mn-ea"/>
                <a:cs typeface="+mn-cs"/>
              </a:rPr>
              <a:t>Federal</a:t>
            </a:r>
          </a:p>
        </p:txBody>
      </p:sp>
      <p:sp>
        <p:nvSpPr>
          <p:cNvPr id="55" name="TextBox 54"/>
          <p:cNvSpPr txBox="1"/>
          <p:nvPr/>
        </p:nvSpPr>
        <p:spPr>
          <a:xfrm>
            <a:off x="2751374" y="1205896"/>
            <a:ext cx="1796270" cy="333596"/>
          </a:xfrm>
          <a:prstGeom prst="rect">
            <a:avLst/>
          </a:prstGeom>
          <a:solidFill>
            <a:schemeClr val="accent1"/>
          </a:solidFill>
        </p:spPr>
        <p:txBody>
          <a:bodyPr wrap="square" lIns="91399" tIns="45699" rIns="91399" bIns="45699"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68" b="0" i="0" u="none" strike="noStrike" kern="1200" cap="none" spc="0" normalizeH="0" baseline="0" noProof="0" dirty="0">
                <a:ln>
                  <a:noFill/>
                </a:ln>
                <a:solidFill>
                  <a:prstClr val="black"/>
                </a:solidFill>
                <a:effectLst/>
                <a:uLnTx/>
                <a:uFillTx/>
                <a:latin typeface="EYInterstate Regular" panose="02000503020000020004" pitchFamily="2" charset="0"/>
                <a:ea typeface="+mn-ea"/>
                <a:cs typeface="+mn-cs"/>
              </a:rPr>
              <a:t>State</a:t>
            </a:r>
          </a:p>
        </p:txBody>
      </p:sp>
      <p:sp>
        <p:nvSpPr>
          <p:cNvPr id="56" name="TextBox 55"/>
          <p:cNvSpPr txBox="1"/>
          <p:nvPr/>
        </p:nvSpPr>
        <p:spPr>
          <a:xfrm>
            <a:off x="7081601" y="1203445"/>
            <a:ext cx="1781394" cy="338498"/>
          </a:xfrm>
          <a:prstGeom prst="rect">
            <a:avLst/>
          </a:prstGeom>
          <a:solidFill>
            <a:schemeClr val="accent1"/>
          </a:solidFill>
        </p:spPr>
        <p:txBody>
          <a:bodyPr wrap="square" lIns="91399" tIns="45699" rIns="91399" bIns="45699"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68" b="0" i="0" u="none" strike="noStrike" kern="1200" cap="none" spc="0" normalizeH="0" baseline="0" noProof="0" dirty="0">
                <a:ln>
                  <a:noFill/>
                </a:ln>
                <a:solidFill>
                  <a:sysClr val="windowText" lastClr="000000"/>
                </a:solidFill>
                <a:effectLst/>
                <a:uLnTx/>
                <a:uFillTx/>
                <a:latin typeface="EYInterstate Regular" panose="02000503020000020004" pitchFamily="2" charset="0"/>
                <a:ea typeface="+mn-ea"/>
                <a:cs typeface="+mn-cs"/>
              </a:rPr>
              <a:t>Community level</a:t>
            </a:r>
          </a:p>
        </p:txBody>
      </p:sp>
      <p:sp>
        <p:nvSpPr>
          <p:cNvPr id="61" name="Flowchart: Decision 56"/>
          <p:cNvSpPr/>
          <p:nvPr/>
        </p:nvSpPr>
        <p:spPr bwMode="auto">
          <a:xfrm>
            <a:off x="305614" y="1288953"/>
            <a:ext cx="150786" cy="4715434"/>
          </a:xfrm>
          <a:prstGeom prst="flowChartDecision">
            <a:avLst/>
          </a:prstGeom>
          <a:solidFill>
            <a:schemeClr val="accent5">
              <a:lumMod val="75000"/>
            </a:schemeClr>
          </a:solidFill>
          <a:ln w="0">
            <a:noFill/>
            <a:prstDash val="solid"/>
            <a:round/>
            <a:headEnd/>
            <a:tailEnd/>
          </a:ln>
        </p:spPr>
        <p:txBody>
          <a:bodyPr vert="horz" wrap="square" lIns="91399" tIns="45699" rIns="91399" bIns="45699"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a:ln>
                <a:noFill/>
              </a:ln>
              <a:solidFill>
                <a:prstClr val="black"/>
              </a:solidFill>
              <a:effectLst/>
              <a:uLnTx/>
              <a:uFillTx/>
              <a:latin typeface="EYInterstate Regular" panose="02000503020000020004" pitchFamily="2" charset="0"/>
              <a:ea typeface="+mn-ea"/>
              <a:cs typeface="+mn-cs"/>
            </a:endParaRPr>
          </a:p>
        </p:txBody>
      </p:sp>
      <p:sp>
        <p:nvSpPr>
          <p:cNvPr id="62" name="Flowchart: Decision 57"/>
          <p:cNvSpPr/>
          <p:nvPr/>
        </p:nvSpPr>
        <p:spPr bwMode="auto">
          <a:xfrm>
            <a:off x="2482679" y="1288953"/>
            <a:ext cx="121555" cy="4715434"/>
          </a:xfrm>
          <a:prstGeom prst="flowChartDecision">
            <a:avLst/>
          </a:prstGeom>
          <a:solidFill>
            <a:schemeClr val="accent5">
              <a:lumMod val="75000"/>
            </a:schemeClr>
          </a:solidFill>
          <a:ln w="0">
            <a:noFill/>
            <a:prstDash val="solid"/>
            <a:round/>
            <a:headEnd/>
            <a:tailEnd/>
          </a:ln>
        </p:spPr>
        <p:txBody>
          <a:bodyPr vert="horz" wrap="square" lIns="91399" tIns="45699" rIns="91399" bIns="45699"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a:ln>
                <a:noFill/>
              </a:ln>
              <a:solidFill>
                <a:prstClr val="black"/>
              </a:solidFill>
              <a:effectLst/>
              <a:uLnTx/>
              <a:uFillTx/>
              <a:latin typeface="EYInterstate Regular" panose="02000503020000020004" pitchFamily="2" charset="0"/>
              <a:ea typeface="+mn-ea"/>
              <a:cs typeface="+mn-cs"/>
            </a:endParaRPr>
          </a:p>
        </p:txBody>
      </p:sp>
      <p:sp>
        <p:nvSpPr>
          <p:cNvPr id="63" name="Flowchart: Decision 58"/>
          <p:cNvSpPr/>
          <p:nvPr/>
        </p:nvSpPr>
        <p:spPr bwMode="auto">
          <a:xfrm>
            <a:off x="4694810" y="1288953"/>
            <a:ext cx="121555" cy="4715434"/>
          </a:xfrm>
          <a:prstGeom prst="flowChartDecision">
            <a:avLst/>
          </a:prstGeom>
          <a:solidFill>
            <a:schemeClr val="accent5">
              <a:lumMod val="75000"/>
            </a:schemeClr>
          </a:solidFill>
          <a:ln w="0">
            <a:noFill/>
            <a:prstDash val="solid"/>
            <a:round/>
            <a:headEnd/>
            <a:tailEnd/>
          </a:ln>
        </p:spPr>
        <p:txBody>
          <a:bodyPr vert="horz" wrap="square" lIns="91399" tIns="45699" rIns="91399" bIns="45699"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dirty="0">
              <a:ln>
                <a:noFill/>
              </a:ln>
              <a:solidFill>
                <a:prstClr val="black"/>
              </a:solidFill>
              <a:effectLst/>
              <a:uLnTx/>
              <a:uFillTx/>
              <a:latin typeface="EYInterstate Regular" panose="02000503020000020004" pitchFamily="2" charset="0"/>
              <a:ea typeface="+mn-ea"/>
              <a:cs typeface="+mn-cs"/>
            </a:endParaRPr>
          </a:p>
        </p:txBody>
      </p:sp>
      <p:sp>
        <p:nvSpPr>
          <p:cNvPr id="64" name="TextBox 63"/>
          <p:cNvSpPr txBox="1"/>
          <p:nvPr/>
        </p:nvSpPr>
        <p:spPr>
          <a:xfrm>
            <a:off x="508838" y="2959906"/>
            <a:ext cx="2035702" cy="3016168"/>
          </a:xfrm>
          <a:prstGeom prst="rect">
            <a:avLst/>
          </a:prstGeom>
          <a:noFill/>
        </p:spPr>
        <p:txBody>
          <a:bodyPr wrap="square" lIns="91399" tIns="45699" rIns="91399" bIns="45699" rtlCol="0">
            <a:spAutoFit/>
          </a:bodyPr>
          <a:lstStyle/>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ederal Executive Council </a:t>
            </a:r>
          </a:p>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ational Economic Council</a:t>
            </a:r>
          </a:p>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ational Council on Health</a:t>
            </a:r>
          </a:p>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ational Health data governance council</a:t>
            </a:r>
          </a:p>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ational Health Data Consultative Committee</a:t>
            </a:r>
          </a:p>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ational MPDSR steering committee</a:t>
            </a:r>
          </a:p>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ational Emergency Maternal and Child Health Intervention center</a:t>
            </a:r>
          </a:p>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ational Technical Working Groups (RMNCAH+N and M&amp;E)</a:t>
            </a:r>
          </a:p>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ational Emergency Routine Immunization Coordination center</a:t>
            </a:r>
          </a:p>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re Technical Committees</a:t>
            </a:r>
          </a:p>
        </p:txBody>
      </p:sp>
      <p:sp>
        <p:nvSpPr>
          <p:cNvPr id="82" name="TextBox 81"/>
          <p:cNvSpPr txBox="1"/>
          <p:nvPr/>
        </p:nvSpPr>
        <p:spPr>
          <a:xfrm>
            <a:off x="2655697" y="2977548"/>
            <a:ext cx="2035702" cy="4070303"/>
          </a:xfrm>
          <a:prstGeom prst="rect">
            <a:avLst/>
          </a:prstGeom>
          <a:noFill/>
        </p:spPr>
        <p:txBody>
          <a:bodyPr wrap="square" lIns="91399" tIns="45699" rIns="91399" bIns="45699" rtlCol="0">
            <a:spAutoFit/>
          </a:bodyPr>
          <a:lstStyle/>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Governors Forum</a:t>
            </a:r>
          </a:p>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ate Executive Council</a:t>
            </a:r>
          </a:p>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ate Council on Health</a:t>
            </a:r>
          </a:p>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ate Health Data Consultative Committee</a:t>
            </a:r>
          </a:p>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ate Health data governance council</a:t>
            </a:r>
          </a:p>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ate MPDSR steering committee</a:t>
            </a:r>
          </a:p>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ate Emergency Maternal and Child Health Intervention center</a:t>
            </a:r>
          </a:p>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ate Core Technical Committees</a:t>
            </a:r>
          </a:p>
          <a:p>
            <a:pPr marL="0" marR="0" lvl="0" indent="0" algn="l" defTabSz="914400" rtl="0" eaLnBrk="1" fontAlgn="t" latinLnBrk="0" hangingPunct="1">
              <a:lnSpc>
                <a:spcPct val="100000"/>
              </a:lnSpc>
              <a:spcBef>
                <a:spcPts val="1176"/>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83" name="Picture 3"/>
          <p:cNvPicPr>
            <a:picLocks noChangeAspect="1" noChangeArrowheads="1"/>
          </p:cNvPicPr>
          <p:nvPr/>
        </p:nvPicPr>
        <p:blipFill>
          <a:blip r:embed="rId3" cstate="print"/>
          <a:srcRect/>
          <a:stretch>
            <a:fillRect/>
          </a:stretch>
        </p:blipFill>
        <p:spPr bwMode="auto">
          <a:xfrm>
            <a:off x="7083381" y="1639889"/>
            <a:ext cx="1612338" cy="1105667"/>
          </a:xfrm>
          <a:prstGeom prst="rect">
            <a:avLst/>
          </a:prstGeom>
          <a:noFill/>
          <a:ln w="9525">
            <a:noFill/>
            <a:miter lim="800000"/>
            <a:headEnd/>
            <a:tailEnd/>
          </a:ln>
          <a:effectLst/>
        </p:spPr>
      </p:pic>
      <p:sp>
        <p:nvSpPr>
          <p:cNvPr id="84" name="TextBox 83"/>
          <p:cNvSpPr txBox="1"/>
          <p:nvPr/>
        </p:nvSpPr>
        <p:spPr>
          <a:xfrm>
            <a:off x="6906359" y="2977553"/>
            <a:ext cx="2035702" cy="784788"/>
          </a:xfrm>
          <a:prstGeom prst="rect">
            <a:avLst/>
          </a:prstGeom>
          <a:noFill/>
        </p:spPr>
        <p:txBody>
          <a:bodyPr wrap="square" lIns="91399" tIns="45699" rIns="91399" bIns="45699" rtlCol="0">
            <a:spAutoFit/>
          </a:bodyPr>
          <a:lstStyle/>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r>
              <a:rPr kumimoji="0" lang="en-US" sz="1000" b="0" i="0" u="none" strike="noStrike" kern="1200" cap="none" spc="0" normalizeH="0" baseline="0" noProof="0" dirty="0">
                <a:ln>
                  <a:noFill/>
                </a:ln>
                <a:solidFill>
                  <a:prstClr val="black"/>
                </a:solidFill>
                <a:effectLst/>
                <a:uLnTx/>
                <a:uFillTx/>
                <a:latin typeface="Arial" charset="0"/>
                <a:ea typeface="+mn-ea"/>
                <a:cs typeface="+mn-cs"/>
              </a:rPr>
              <a:t>Village Health Committee</a:t>
            </a: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r>
              <a:rPr kumimoji="0" lang="en-US" sz="1000" b="0" i="0" u="none" strike="noStrike" kern="1200" cap="none" spc="0" normalizeH="0" baseline="0" noProof="0" dirty="0">
                <a:ln>
                  <a:noFill/>
                </a:ln>
                <a:solidFill>
                  <a:prstClr val="black"/>
                </a:solidFill>
                <a:effectLst/>
                <a:uLnTx/>
                <a:uFillTx/>
                <a:latin typeface="Arial" charset="0"/>
                <a:ea typeface="+mn-ea"/>
                <a:cs typeface="+mn-cs"/>
              </a:rPr>
              <a:t>Village Development Committee</a:t>
            </a:r>
          </a:p>
        </p:txBody>
      </p:sp>
      <p:sp>
        <p:nvSpPr>
          <p:cNvPr id="22" name="Flowchart: Decision 58">
            <a:extLst>
              <a:ext uri="{FF2B5EF4-FFF2-40B4-BE49-F238E27FC236}">
                <a16:creationId xmlns:a16="http://schemas.microsoft.com/office/drawing/2014/main" id="{26AE665B-5EEC-45CE-AFD8-2CF29FBD188E}"/>
              </a:ext>
            </a:extLst>
          </p:cNvPr>
          <p:cNvSpPr/>
          <p:nvPr/>
        </p:nvSpPr>
        <p:spPr bwMode="auto">
          <a:xfrm>
            <a:off x="6833190" y="1362771"/>
            <a:ext cx="121555" cy="4715434"/>
          </a:xfrm>
          <a:prstGeom prst="flowChartDecision">
            <a:avLst/>
          </a:prstGeom>
          <a:solidFill>
            <a:schemeClr val="accent5">
              <a:lumMod val="75000"/>
            </a:schemeClr>
          </a:solidFill>
          <a:ln w="0">
            <a:noFill/>
            <a:prstDash val="solid"/>
            <a:round/>
            <a:headEnd/>
            <a:tailEnd/>
          </a:ln>
        </p:spPr>
        <p:txBody>
          <a:bodyPr vert="horz" wrap="square" lIns="91399" tIns="45699" rIns="91399" bIns="45699"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dirty="0">
              <a:ln>
                <a:noFill/>
              </a:ln>
              <a:solidFill>
                <a:prstClr val="black"/>
              </a:solidFill>
              <a:effectLst/>
              <a:uLnTx/>
              <a:uFillTx/>
              <a:latin typeface="EYInterstate Regular" panose="02000503020000020004" pitchFamily="2" charset="0"/>
              <a:ea typeface="+mn-ea"/>
              <a:cs typeface="+mn-cs"/>
            </a:endParaRPr>
          </a:p>
        </p:txBody>
      </p:sp>
      <p:sp>
        <p:nvSpPr>
          <p:cNvPr id="23" name="TextBox 22">
            <a:extLst>
              <a:ext uri="{FF2B5EF4-FFF2-40B4-BE49-F238E27FC236}">
                <a16:creationId xmlns:a16="http://schemas.microsoft.com/office/drawing/2014/main" id="{16EA472B-3DF6-4BD8-98C8-018E9B22C6A3}"/>
              </a:ext>
            </a:extLst>
          </p:cNvPr>
          <p:cNvSpPr txBox="1"/>
          <p:nvPr/>
        </p:nvSpPr>
        <p:spPr>
          <a:xfrm>
            <a:off x="4952207" y="1205896"/>
            <a:ext cx="1796270" cy="333596"/>
          </a:xfrm>
          <a:prstGeom prst="rect">
            <a:avLst/>
          </a:prstGeom>
          <a:solidFill>
            <a:schemeClr val="accent1"/>
          </a:solidFill>
        </p:spPr>
        <p:txBody>
          <a:bodyPr wrap="square" lIns="91399" tIns="45699" rIns="91399" bIns="45699"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68" b="0" i="0" u="none" strike="noStrike" kern="1200" cap="none" spc="0" normalizeH="0" baseline="0" noProof="0" dirty="0">
                <a:ln>
                  <a:noFill/>
                </a:ln>
                <a:solidFill>
                  <a:prstClr val="black"/>
                </a:solidFill>
                <a:effectLst/>
                <a:uLnTx/>
                <a:uFillTx/>
                <a:latin typeface="EYInterstate Regular" panose="02000503020000020004" pitchFamily="2" charset="0"/>
                <a:ea typeface="+mn-ea"/>
                <a:cs typeface="+mn-cs"/>
              </a:rPr>
              <a:t>LGA</a:t>
            </a:r>
          </a:p>
        </p:txBody>
      </p:sp>
      <p:sp>
        <p:nvSpPr>
          <p:cNvPr id="24" name="TextBox 23">
            <a:extLst>
              <a:ext uri="{FF2B5EF4-FFF2-40B4-BE49-F238E27FC236}">
                <a16:creationId xmlns:a16="http://schemas.microsoft.com/office/drawing/2014/main" id="{1A64BFC4-CFB1-4DFD-87ED-03055DC3B242}"/>
              </a:ext>
            </a:extLst>
          </p:cNvPr>
          <p:cNvSpPr txBox="1"/>
          <p:nvPr/>
        </p:nvSpPr>
        <p:spPr>
          <a:xfrm>
            <a:off x="4889535" y="3048618"/>
            <a:ext cx="1943656" cy="3639415"/>
          </a:xfrm>
          <a:prstGeom prst="rect">
            <a:avLst/>
          </a:prstGeom>
          <a:noFill/>
        </p:spPr>
        <p:txBody>
          <a:bodyPr wrap="square" lIns="91399" tIns="45699" rIns="91399" bIns="45699" rtlCol="0">
            <a:spAutoFit/>
          </a:bodyPr>
          <a:lstStyle/>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r>
              <a:rPr kumimoji="0" lang="en-US" sz="1000" b="0" i="0" u="none" strike="noStrike" kern="1200" cap="none" spc="0" normalizeH="0" baseline="0" noProof="0" dirty="0">
                <a:ln>
                  <a:noFill/>
                </a:ln>
                <a:solidFill>
                  <a:prstClr val="black"/>
                </a:solidFill>
                <a:effectLst/>
                <a:uLnTx/>
                <a:uFillTx/>
                <a:latin typeface="Arial" charset="0"/>
                <a:ea typeface="+mn-ea"/>
                <a:cs typeface="+mn-cs"/>
              </a:rPr>
              <a:t>Association of Local Governments of Nigeria</a:t>
            </a: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r>
              <a:rPr kumimoji="0" lang="en-US" sz="1000" b="0" i="0" u="none" strike="noStrike" kern="1200" cap="none" spc="0" normalizeH="0" baseline="0" noProof="0" dirty="0">
                <a:ln>
                  <a:noFill/>
                </a:ln>
                <a:solidFill>
                  <a:prstClr val="black"/>
                </a:solidFill>
                <a:effectLst/>
                <a:uLnTx/>
                <a:uFillTx/>
                <a:latin typeface="Arial" charset="0"/>
                <a:ea typeface="+mn-ea"/>
                <a:cs typeface="+mn-cs"/>
              </a:rPr>
              <a:t>LGA Emergency Maternal and Child Health Intervention center</a:t>
            </a: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r>
              <a:rPr kumimoji="0" lang="en-US" sz="1000" b="0" i="0" u="none" strike="noStrike" kern="1200" cap="none" spc="0" normalizeH="0" baseline="0" noProof="0" dirty="0">
                <a:ln>
                  <a:noFill/>
                </a:ln>
                <a:solidFill>
                  <a:prstClr val="black"/>
                </a:solidFill>
                <a:effectLst/>
                <a:uLnTx/>
                <a:uFillTx/>
                <a:latin typeface="Arial" charset="0"/>
                <a:ea typeface="+mn-ea"/>
                <a:cs typeface="+mn-cs"/>
              </a:rPr>
              <a:t>LGA Emergency routine immunization coordination center</a:t>
            </a: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r>
              <a:rPr kumimoji="0" lang="en-US" sz="1000" b="0" i="0" u="none" strike="noStrike" kern="1200" cap="none" spc="0" normalizeH="0" baseline="0" noProof="0" dirty="0">
                <a:ln>
                  <a:noFill/>
                </a:ln>
                <a:solidFill>
                  <a:prstClr val="black"/>
                </a:solidFill>
                <a:effectLst/>
                <a:uLnTx/>
                <a:uFillTx/>
                <a:latin typeface="Arial" charset="0"/>
                <a:ea typeface="+mn-ea"/>
                <a:cs typeface="+mn-cs"/>
              </a:rPr>
              <a:t>Ward Development Committee/LG Management Committee</a:t>
            </a: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endParaRPr kumimoji="0" lang="en-US" sz="1000" b="0" i="0" u="none" strike="noStrike" kern="1200" cap="none" spc="0" normalizeH="0" baseline="0" noProof="0" dirty="0">
              <a:ln>
                <a:noFill/>
              </a:ln>
              <a:solidFill>
                <a:prstClr val="black"/>
              </a:solidFill>
              <a:effectLst/>
              <a:uLnTx/>
              <a:uFillTx/>
              <a:latin typeface="Arial" charset="0"/>
              <a:ea typeface="+mn-ea"/>
              <a:cs typeface="+mn-cs"/>
            </a:endParaRP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endParaRPr kumimoji="0" lang="en-US" sz="10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ctr" latinLnBrk="0" hangingPunct="1">
              <a:lnSpc>
                <a:spcPct val="100000"/>
              </a:lnSpc>
              <a:spcBef>
                <a:spcPct val="0"/>
              </a:spcBef>
              <a:spcAft>
                <a:spcPts val="180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charset="0"/>
              <a:ea typeface="+mn-ea"/>
              <a:cs typeface="+mn-cs"/>
            </a:endParaRPr>
          </a:p>
        </p:txBody>
      </p:sp>
      <p:pic>
        <p:nvPicPr>
          <p:cNvPr id="1073154" name="Picture 2">
            <a:extLst>
              <a:ext uri="{FF2B5EF4-FFF2-40B4-BE49-F238E27FC236}">
                <a16:creationId xmlns:a16="http://schemas.microsoft.com/office/drawing/2014/main" id="{3CA7BF1E-2426-46F7-9A1C-6029C2A4496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5074" y="1613784"/>
            <a:ext cx="1614590" cy="1292771"/>
          </a:xfrm>
          <a:prstGeom prst="rect">
            <a:avLst/>
          </a:prstGeom>
          <a:noFill/>
          <a:extLst>
            <a:ext uri="{909E8E84-426E-40DD-AFC4-6F175D3DCCD1}">
              <a14:hiddenFill xmlns:a14="http://schemas.microsoft.com/office/drawing/2010/main">
                <a:solidFill>
                  <a:srgbClr val="FFFFFF"/>
                </a:solidFill>
              </a14:hiddenFill>
            </a:ext>
          </a:extLst>
        </p:spPr>
      </p:pic>
      <p:pic>
        <p:nvPicPr>
          <p:cNvPr id="1073156" name="Picture 4">
            <a:extLst>
              <a:ext uri="{FF2B5EF4-FFF2-40B4-BE49-F238E27FC236}">
                <a16:creationId xmlns:a16="http://schemas.microsoft.com/office/drawing/2014/main" id="{639616D0-BCD5-4B00-AA37-724BF00793C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06027" y="1651647"/>
            <a:ext cx="1557469" cy="1373174"/>
          </a:xfrm>
          <a:prstGeom prst="rect">
            <a:avLst/>
          </a:prstGeom>
          <a:noFill/>
          <a:extLst>
            <a:ext uri="{909E8E84-426E-40DD-AFC4-6F175D3DCCD1}">
              <a14:hiddenFill xmlns:a14="http://schemas.microsoft.com/office/drawing/2010/main">
                <a:solidFill>
                  <a:srgbClr val="FFFFFF"/>
                </a:solidFill>
              </a14:hiddenFill>
            </a:ext>
          </a:extLst>
        </p:spPr>
      </p:pic>
      <p:pic>
        <p:nvPicPr>
          <p:cNvPr id="1073158" name="Picture 6">
            <a:extLst>
              <a:ext uri="{FF2B5EF4-FFF2-40B4-BE49-F238E27FC236}">
                <a16:creationId xmlns:a16="http://schemas.microsoft.com/office/drawing/2014/main" id="{2B2E10B2-2F5B-4DEB-84AC-BAB5EBCC5C9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45874" y="1782444"/>
            <a:ext cx="1828488" cy="963112"/>
          </a:xfrm>
          <a:prstGeom prst="rect">
            <a:avLst/>
          </a:prstGeom>
          <a:noFill/>
          <a:extLst>
            <a:ext uri="{909E8E84-426E-40DD-AFC4-6F175D3DCCD1}">
              <a14:hiddenFill xmlns:a14="http://schemas.microsoft.com/office/drawing/2010/main">
                <a:solidFill>
                  <a:srgbClr val="FFFFFF"/>
                </a:solidFill>
              </a14:hiddenFill>
            </a:ext>
          </a:extLst>
        </p:spPr>
      </p:pic>
      <p:sp>
        <p:nvSpPr>
          <p:cNvPr id="76" name="Freeform 396" descr="© INSCALE GmbH, 21.06.2010"/>
          <p:cNvSpPr>
            <a:spLocks noChangeAspect="1" noEditPoints="1"/>
          </p:cNvSpPr>
          <p:nvPr/>
        </p:nvSpPr>
        <p:spPr bwMode="gray">
          <a:xfrm>
            <a:off x="5180362" y="1897218"/>
            <a:ext cx="988965" cy="992352"/>
          </a:xfrm>
          <a:custGeom>
            <a:avLst/>
            <a:gdLst>
              <a:gd name="T0" fmla="*/ 1 w 2218"/>
              <a:gd name="T1" fmla="*/ 1 h 2219"/>
              <a:gd name="T2" fmla="*/ 0 w 2218"/>
              <a:gd name="T3" fmla="*/ 0 h 2219"/>
              <a:gd name="T4" fmla="*/ 0 w 2218"/>
              <a:gd name="T5" fmla="*/ 0 h 2219"/>
              <a:gd name="T6" fmla="*/ 0 w 2218"/>
              <a:gd name="T7" fmla="*/ 0 h 2219"/>
              <a:gd name="T8" fmla="*/ 0 w 2218"/>
              <a:gd name="T9" fmla="*/ 0 h 2219"/>
              <a:gd name="T10" fmla="*/ 0 w 2218"/>
              <a:gd name="T11" fmla="*/ 0 h 2219"/>
              <a:gd name="T12" fmla="*/ 0 w 2218"/>
              <a:gd name="T13" fmla="*/ 0 h 2219"/>
              <a:gd name="T14" fmla="*/ 0 w 2218"/>
              <a:gd name="T15" fmla="*/ 1 h 2219"/>
              <a:gd name="T16" fmla="*/ 0 w 2218"/>
              <a:gd name="T17" fmla="*/ 0 h 2219"/>
              <a:gd name="T18" fmla="*/ 0 w 2218"/>
              <a:gd name="T19" fmla="*/ 0 h 2219"/>
              <a:gd name="T20" fmla="*/ 1 w 2218"/>
              <a:gd name="T21" fmla="*/ 1 h 2219"/>
              <a:gd name="T22" fmla="*/ 1 w 2218"/>
              <a:gd name="T23" fmla="*/ 1 h 2219"/>
              <a:gd name="T24" fmla="*/ 1 w 2218"/>
              <a:gd name="T25" fmla="*/ 1 h 2219"/>
              <a:gd name="T26" fmla="*/ 1 w 2218"/>
              <a:gd name="T27" fmla="*/ 1 h 2219"/>
              <a:gd name="T28" fmla="*/ 0 w 2218"/>
              <a:gd name="T29" fmla="*/ 0 h 2219"/>
              <a:gd name="T30" fmla="*/ 0 w 2218"/>
              <a:gd name="T31" fmla="*/ 0 h 2219"/>
              <a:gd name="T32" fmla="*/ 0 w 2218"/>
              <a:gd name="T33" fmla="*/ 0 h 2219"/>
              <a:gd name="T34" fmla="*/ 0 w 2218"/>
              <a:gd name="T35" fmla="*/ 0 h 2219"/>
              <a:gd name="T36" fmla="*/ 0 w 2218"/>
              <a:gd name="T37" fmla="*/ 0 h 2219"/>
              <a:gd name="T38" fmla="*/ 0 w 2218"/>
              <a:gd name="T39" fmla="*/ 0 h 2219"/>
              <a:gd name="T40" fmla="*/ 0 w 2218"/>
              <a:gd name="T41" fmla="*/ 0 h 2219"/>
              <a:gd name="T42" fmla="*/ 0 w 2218"/>
              <a:gd name="T43" fmla="*/ 0 h 2219"/>
              <a:gd name="T44" fmla="*/ 0 w 2218"/>
              <a:gd name="T45" fmla="*/ 0 h 2219"/>
              <a:gd name="T46" fmla="*/ 0 w 2218"/>
              <a:gd name="T47" fmla="*/ 0 h 2219"/>
              <a:gd name="T48" fmla="*/ 0 w 2218"/>
              <a:gd name="T49" fmla="*/ 0 h 2219"/>
              <a:gd name="T50" fmla="*/ 0 w 2218"/>
              <a:gd name="T51" fmla="*/ 0 h 2219"/>
              <a:gd name="T52" fmla="*/ 0 w 2218"/>
              <a:gd name="T53" fmla="*/ 0 h 2219"/>
              <a:gd name="T54" fmla="*/ 0 w 2218"/>
              <a:gd name="T55" fmla="*/ 0 h 221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18"/>
              <a:gd name="T85" fmla="*/ 0 h 2219"/>
              <a:gd name="T86" fmla="*/ 2218 w 2218"/>
              <a:gd name="T87" fmla="*/ 2219 h 221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18" h="2219">
                <a:moveTo>
                  <a:pt x="2186" y="1917"/>
                </a:moveTo>
                <a:cubicBezTo>
                  <a:pt x="1506" y="1238"/>
                  <a:pt x="1506" y="1238"/>
                  <a:pt x="1506" y="1238"/>
                </a:cubicBezTo>
                <a:cubicBezTo>
                  <a:pt x="1504" y="1235"/>
                  <a:pt x="1501" y="1234"/>
                  <a:pt x="1499" y="1232"/>
                </a:cubicBezTo>
                <a:cubicBezTo>
                  <a:pt x="1568" y="1114"/>
                  <a:pt x="1606" y="981"/>
                  <a:pt x="1606" y="841"/>
                </a:cubicBezTo>
                <a:cubicBezTo>
                  <a:pt x="1606" y="636"/>
                  <a:pt x="1526" y="444"/>
                  <a:pt x="1382" y="299"/>
                </a:cubicBezTo>
                <a:cubicBezTo>
                  <a:pt x="1083" y="0"/>
                  <a:pt x="597" y="0"/>
                  <a:pt x="298" y="299"/>
                </a:cubicBezTo>
                <a:cubicBezTo>
                  <a:pt x="0" y="598"/>
                  <a:pt x="0" y="1084"/>
                  <a:pt x="298" y="1383"/>
                </a:cubicBezTo>
                <a:cubicBezTo>
                  <a:pt x="443" y="1527"/>
                  <a:pt x="635" y="1607"/>
                  <a:pt x="840" y="1607"/>
                </a:cubicBezTo>
                <a:cubicBezTo>
                  <a:pt x="980" y="1607"/>
                  <a:pt x="1114" y="1569"/>
                  <a:pt x="1231" y="1499"/>
                </a:cubicBezTo>
                <a:cubicBezTo>
                  <a:pt x="1233" y="1502"/>
                  <a:pt x="1234" y="1505"/>
                  <a:pt x="1237" y="1507"/>
                </a:cubicBezTo>
                <a:cubicBezTo>
                  <a:pt x="1916" y="2187"/>
                  <a:pt x="1916" y="2187"/>
                  <a:pt x="1916" y="2187"/>
                </a:cubicBezTo>
                <a:cubicBezTo>
                  <a:pt x="1949" y="2219"/>
                  <a:pt x="2005" y="2215"/>
                  <a:pt x="2043" y="2177"/>
                </a:cubicBezTo>
                <a:cubicBezTo>
                  <a:pt x="2176" y="2044"/>
                  <a:pt x="2176" y="2044"/>
                  <a:pt x="2176" y="2044"/>
                </a:cubicBezTo>
                <a:cubicBezTo>
                  <a:pt x="2214" y="2006"/>
                  <a:pt x="2218" y="1950"/>
                  <a:pt x="2186" y="1917"/>
                </a:cubicBezTo>
                <a:close/>
                <a:moveTo>
                  <a:pt x="840" y="1413"/>
                </a:moveTo>
                <a:cubicBezTo>
                  <a:pt x="687" y="1414"/>
                  <a:pt x="543" y="1354"/>
                  <a:pt x="435" y="1246"/>
                </a:cubicBezTo>
                <a:cubicBezTo>
                  <a:pt x="212" y="1023"/>
                  <a:pt x="212" y="659"/>
                  <a:pt x="435" y="436"/>
                </a:cubicBezTo>
                <a:cubicBezTo>
                  <a:pt x="658" y="213"/>
                  <a:pt x="1022" y="213"/>
                  <a:pt x="1245" y="436"/>
                </a:cubicBezTo>
                <a:cubicBezTo>
                  <a:pt x="1353" y="544"/>
                  <a:pt x="1413" y="688"/>
                  <a:pt x="1413" y="841"/>
                </a:cubicBezTo>
                <a:cubicBezTo>
                  <a:pt x="1413" y="994"/>
                  <a:pt x="1353" y="1138"/>
                  <a:pt x="1245" y="1246"/>
                </a:cubicBezTo>
                <a:cubicBezTo>
                  <a:pt x="1137" y="1354"/>
                  <a:pt x="993" y="1413"/>
                  <a:pt x="840" y="1413"/>
                </a:cubicBezTo>
                <a:close/>
                <a:moveTo>
                  <a:pt x="609" y="1002"/>
                </a:moveTo>
                <a:cubicBezTo>
                  <a:pt x="508" y="901"/>
                  <a:pt x="508" y="737"/>
                  <a:pt x="609" y="636"/>
                </a:cubicBezTo>
                <a:cubicBezTo>
                  <a:pt x="637" y="607"/>
                  <a:pt x="637" y="561"/>
                  <a:pt x="609" y="533"/>
                </a:cubicBezTo>
                <a:cubicBezTo>
                  <a:pt x="580" y="505"/>
                  <a:pt x="534" y="505"/>
                  <a:pt x="506" y="533"/>
                </a:cubicBezTo>
                <a:cubicBezTo>
                  <a:pt x="348" y="690"/>
                  <a:pt x="348" y="947"/>
                  <a:pt x="506" y="1105"/>
                </a:cubicBezTo>
                <a:cubicBezTo>
                  <a:pt x="534" y="1133"/>
                  <a:pt x="580" y="1133"/>
                  <a:pt x="609" y="1105"/>
                </a:cubicBezTo>
                <a:cubicBezTo>
                  <a:pt x="637" y="1076"/>
                  <a:pt x="637" y="1030"/>
                  <a:pt x="609" y="1002"/>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lIns="91399" tIns="45699" rIns="91399" bIns="45699"/>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455428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85B17C85-56ED-4CDA-BBC0-FD62BF55A551}"/>
              </a:ext>
            </a:extLst>
          </p:cNvPr>
          <p:cNvSpPr txBox="1">
            <a:spLocks/>
          </p:cNvSpPr>
          <p:nvPr/>
        </p:nvSpPr>
        <p:spPr>
          <a:xfrm>
            <a:off x="455710" y="4397165"/>
            <a:ext cx="8048430" cy="1302857"/>
          </a:xfrm>
          <a:prstGeom prst="rect">
            <a:avLst/>
          </a:prstGeom>
        </p:spPr>
        <p:txBody>
          <a:bodyPr vert="horz" wrap="square" lIns="0" tIns="0" rIns="0" bIns="0" rtlCol="0" anchor="ctr">
            <a:spAutoFit/>
          </a:bodyPr>
          <a:lstStyle>
            <a:lvl1pPr algn="l" defTabSz="672067" rtl="0" eaLnBrk="1" latinLnBrk="0" hangingPunct="1">
              <a:lnSpc>
                <a:spcPct val="90000"/>
              </a:lnSpc>
              <a:spcBef>
                <a:spcPct val="0"/>
              </a:spcBef>
              <a:buNone/>
              <a:defRPr sz="264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marL="0" marR="0" lvl="0" indent="0" algn="ctr" defTabSz="672067"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ow to share your scorecard</a:t>
            </a: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endParaRPr kumimoji="0" lang="en-US"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8" name="Picture 7">
            <a:extLst>
              <a:ext uri="{FF2B5EF4-FFF2-40B4-BE49-F238E27FC236}">
                <a16:creationId xmlns:a16="http://schemas.microsoft.com/office/drawing/2014/main" id="{393BBE19-56A8-4EBD-B210-04B0887D6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234" y="1775996"/>
            <a:ext cx="7352982" cy="1737142"/>
          </a:xfrm>
          <a:prstGeom prst="rect">
            <a:avLst/>
          </a:prstGeom>
        </p:spPr>
      </p:pic>
    </p:spTree>
    <p:extLst>
      <p:ext uri="{BB962C8B-B14F-4D97-AF65-F5344CB8AC3E}">
        <p14:creationId xmlns:p14="http://schemas.microsoft.com/office/powerpoint/2010/main" val="28994562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3EFFF7-1735-4008-82D6-F02F93523DD4}"/>
              </a:ext>
            </a:extLst>
          </p:cNvPr>
          <p:cNvSpPr>
            <a:spLocks noGrp="1"/>
          </p:cNvSpPr>
          <p:nvPr>
            <p:ph type="title"/>
          </p:nvPr>
        </p:nvSpPr>
        <p:spPr>
          <a:xfrm>
            <a:off x="679579" y="230188"/>
            <a:ext cx="6654067" cy="292388"/>
          </a:xfrm>
        </p:spPr>
        <p:txBody>
          <a:bodyPr/>
          <a:lstStyle/>
          <a:p>
            <a:r>
              <a:rPr lang="en-US" dirty="0"/>
              <a:t>How to share your scorecard</a:t>
            </a:r>
          </a:p>
        </p:txBody>
      </p:sp>
      <p:pic>
        <p:nvPicPr>
          <p:cNvPr id="3" name="Online Media 2" title="Share your scorecard with high level decision makers, programme staff, community members, partners">
            <a:hlinkClick r:id="" action="ppaction://media"/>
            <a:extLst>
              <a:ext uri="{FF2B5EF4-FFF2-40B4-BE49-F238E27FC236}">
                <a16:creationId xmlns:a16="http://schemas.microsoft.com/office/drawing/2014/main" id="{48E0583E-48E2-4A19-B089-304518C7DCA4}"/>
              </a:ext>
            </a:extLst>
          </p:cNvPr>
          <p:cNvPicPr>
            <a:picLocks noRot="1" noChangeAspect="1"/>
          </p:cNvPicPr>
          <p:nvPr>
            <a:videoFile r:link="rId1"/>
          </p:nvPr>
        </p:nvPicPr>
        <p:blipFill>
          <a:blip r:embed="rId3"/>
          <a:stretch>
            <a:fillRect/>
          </a:stretch>
        </p:blipFill>
        <p:spPr>
          <a:xfrm>
            <a:off x="679579" y="626787"/>
            <a:ext cx="7602279" cy="5701710"/>
          </a:xfrm>
          <a:prstGeom prst="rect">
            <a:avLst/>
          </a:prstGeom>
        </p:spPr>
      </p:pic>
    </p:spTree>
    <p:extLst>
      <p:ext uri="{BB962C8B-B14F-4D97-AF65-F5344CB8AC3E}">
        <p14:creationId xmlns:p14="http://schemas.microsoft.com/office/powerpoint/2010/main" val="1609666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a:t>Accountability and transparency</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Why sharing your scorecard is important</a:t>
            </a: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705400"/>
            <a:ext cx="5457516" cy="98130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spcAft>
                <a:spcPts val="588"/>
              </a:spcAft>
            </a:pPr>
            <a:r>
              <a:rPr lang="en-US" sz="1960" b="1" dirty="0">
                <a:solidFill>
                  <a:srgbClr val="D8D8D8">
                    <a:lumMod val="10000"/>
                  </a:srgbClr>
                </a:solidFill>
              </a:rPr>
              <a:t>Accountability</a:t>
            </a:r>
          </a:p>
          <a:p>
            <a:pPr defTabSz="672067" fontAlgn="auto">
              <a:spcAft>
                <a:spcPts val="588"/>
              </a:spcAft>
            </a:pPr>
            <a:r>
              <a:rPr lang="en-US" sz="1764" dirty="0">
                <a:solidFill>
                  <a:srgbClr val="D8D8D8">
                    <a:lumMod val="10000"/>
                  </a:srgbClr>
                </a:solidFill>
              </a:rPr>
              <a:t>People and organizations are held responsible for their performance or actions.</a:t>
            </a:r>
          </a:p>
        </p:txBody>
      </p:sp>
      <p:sp>
        <p:nvSpPr>
          <p:cNvPr id="9" name="Text Placeholder 5">
            <a:extLst>
              <a:ext uri="{FF2B5EF4-FFF2-40B4-BE49-F238E27FC236}">
                <a16:creationId xmlns:a16="http://schemas.microsoft.com/office/drawing/2014/main" id="{E0BA769C-890B-4330-B718-9BA99B90A2F3}"/>
              </a:ext>
            </a:extLst>
          </p:cNvPr>
          <p:cNvSpPr txBox="1">
            <a:spLocks/>
          </p:cNvSpPr>
          <p:nvPr/>
        </p:nvSpPr>
        <p:spPr>
          <a:xfrm>
            <a:off x="448071" y="3156293"/>
            <a:ext cx="5457516" cy="98130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spcAft>
                <a:spcPts val="588"/>
              </a:spcAft>
            </a:pPr>
            <a:r>
              <a:rPr lang="en-US" sz="1960" b="1" dirty="0">
                <a:solidFill>
                  <a:srgbClr val="D8D8D8">
                    <a:lumMod val="10000"/>
                  </a:srgbClr>
                </a:solidFill>
              </a:rPr>
              <a:t>Transparency</a:t>
            </a:r>
          </a:p>
          <a:p>
            <a:pPr defTabSz="672067" fontAlgn="auto">
              <a:spcAft>
                <a:spcPts val="588"/>
              </a:spcAft>
            </a:pPr>
            <a:r>
              <a:rPr lang="en-US" sz="1764" dirty="0">
                <a:solidFill>
                  <a:srgbClr val="D8D8D8">
                    <a:lumMod val="10000"/>
                  </a:srgbClr>
                </a:solidFill>
              </a:rPr>
              <a:t>The extent to which information or data are made available.</a:t>
            </a:r>
          </a:p>
        </p:txBody>
      </p:sp>
    </p:spTree>
    <p:custDataLst>
      <p:tags r:id="rId1"/>
    </p:custDataLst>
    <p:extLst>
      <p:ext uri="{BB962C8B-B14F-4D97-AF65-F5344CB8AC3E}">
        <p14:creationId xmlns:p14="http://schemas.microsoft.com/office/powerpoint/2010/main" val="1993828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Export from the scorecard web platform</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How to share your scorecard</a:t>
            </a:r>
          </a:p>
        </p:txBody>
      </p:sp>
      <p:grpSp>
        <p:nvGrpSpPr>
          <p:cNvPr id="13" name="Group 12">
            <a:extLst>
              <a:ext uri="{FF2B5EF4-FFF2-40B4-BE49-F238E27FC236}">
                <a16:creationId xmlns:a16="http://schemas.microsoft.com/office/drawing/2014/main" id="{D044841D-3713-4F2E-AC8D-97B804710611}"/>
              </a:ext>
            </a:extLst>
          </p:cNvPr>
          <p:cNvGrpSpPr/>
          <p:nvPr/>
        </p:nvGrpSpPr>
        <p:grpSpPr>
          <a:xfrm>
            <a:off x="4241627" y="1360743"/>
            <a:ext cx="2402167" cy="4692059"/>
            <a:chOff x="6235696" y="1384554"/>
            <a:chExt cx="2451104" cy="4787646"/>
          </a:xfrm>
        </p:grpSpPr>
        <p:sp>
          <p:nvSpPr>
            <p:cNvPr id="11" name="Rectangle: Rounded Corners 10">
              <a:extLst>
                <a:ext uri="{FF2B5EF4-FFF2-40B4-BE49-F238E27FC236}">
                  <a16:creationId xmlns:a16="http://schemas.microsoft.com/office/drawing/2014/main" id="{436F688B-BF29-4436-9AB1-A111F0E764E3}"/>
                </a:ext>
              </a:extLst>
            </p:cNvPr>
            <p:cNvSpPr/>
            <p:nvPr/>
          </p:nvSpPr>
          <p:spPr>
            <a:xfrm>
              <a:off x="6235700" y="1384554"/>
              <a:ext cx="2451100" cy="4787646"/>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4" name="Title 4">
              <a:extLst>
                <a:ext uri="{FF2B5EF4-FFF2-40B4-BE49-F238E27FC236}">
                  <a16:creationId xmlns:a16="http://schemas.microsoft.com/office/drawing/2014/main" id="{79A3B389-F3C2-4D1F-9AF8-5A6C77CB1C2D}"/>
                </a:ext>
              </a:extLst>
            </p:cNvPr>
            <p:cNvSpPr txBox="1">
              <a:spLocks/>
            </p:cNvSpPr>
            <p:nvPr/>
          </p:nvSpPr>
          <p:spPr>
            <a:xfrm>
              <a:off x="6235696" y="1798299"/>
              <a:ext cx="2451100" cy="443198"/>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568" dirty="0">
                  <a:solidFill>
                    <a:srgbClr val="6F0710"/>
                  </a:solidFill>
                </a:rPr>
                <a:t>Download as </a:t>
              </a:r>
              <a:br>
                <a:rPr lang="en-US" sz="1568" dirty="0">
                  <a:solidFill>
                    <a:srgbClr val="6F0710"/>
                  </a:solidFill>
                </a:rPr>
              </a:br>
              <a:r>
                <a:rPr lang="en-US" sz="1568" dirty="0">
                  <a:solidFill>
                    <a:srgbClr val="6F0710"/>
                  </a:solidFill>
                </a:rPr>
                <a:t>a PDF</a:t>
              </a:r>
            </a:p>
          </p:txBody>
        </p:sp>
        <p:sp>
          <p:nvSpPr>
            <p:cNvPr id="49" name="Rectangle: Rounded Corners 48">
              <a:extLst>
                <a:ext uri="{FF2B5EF4-FFF2-40B4-BE49-F238E27FC236}">
                  <a16:creationId xmlns:a16="http://schemas.microsoft.com/office/drawing/2014/main" id="{1791E101-02FF-47D0-B2C9-09DDEBADE14B}"/>
                </a:ext>
              </a:extLst>
            </p:cNvPr>
            <p:cNvSpPr/>
            <p:nvPr/>
          </p:nvSpPr>
          <p:spPr>
            <a:xfrm>
              <a:off x="7049392" y="1475275"/>
              <a:ext cx="823716" cy="259937"/>
            </a:xfrm>
            <a:prstGeom prst="roundRect">
              <a:avLst>
                <a:gd name="adj" fmla="val 19766"/>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078" b="1" dirty="0">
                  <a:solidFill>
                    <a:prstClr val="white"/>
                  </a:solidFill>
                  <a:latin typeface="Arial" panose="020B0604020202020204" pitchFamily="34" charset="0"/>
                  <a:cs typeface="Arial" panose="020B0604020202020204" pitchFamily="34" charset="0"/>
                </a:rPr>
                <a:t>All users</a:t>
              </a:r>
            </a:p>
          </p:txBody>
        </p:sp>
        <p:sp>
          <p:nvSpPr>
            <p:cNvPr id="66" name="Text Placeholder 5">
              <a:extLst>
                <a:ext uri="{FF2B5EF4-FFF2-40B4-BE49-F238E27FC236}">
                  <a16:creationId xmlns:a16="http://schemas.microsoft.com/office/drawing/2014/main" id="{90E4798A-AE5B-4347-A4EF-E041A8F1D591}"/>
                </a:ext>
              </a:extLst>
            </p:cNvPr>
            <p:cNvSpPr txBox="1">
              <a:spLocks/>
            </p:cNvSpPr>
            <p:nvPr/>
          </p:nvSpPr>
          <p:spPr>
            <a:xfrm>
              <a:off x="6330171" y="4020692"/>
              <a:ext cx="2262166" cy="121058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Bef>
                  <a:spcPts val="196"/>
                </a:spcBef>
                <a:spcAft>
                  <a:spcPts val="588"/>
                </a:spcAft>
              </a:pPr>
              <a:r>
                <a:rPr lang="en-US" sz="1176" dirty="0">
                  <a:solidFill>
                    <a:srgbClr val="D8D8D8">
                      <a:lumMod val="10000"/>
                    </a:srgbClr>
                  </a:solidFill>
                </a:rPr>
                <a:t>To download your scorecard as a PDF onto your computer:</a:t>
              </a:r>
            </a:p>
            <a:p>
              <a:pPr marL="178912" indent="-178912" defTabSz="672067" fontAlgn="auto">
                <a:lnSpc>
                  <a:spcPct val="100000"/>
                </a:lnSpc>
                <a:spcBef>
                  <a:spcPts val="196"/>
                </a:spcBef>
                <a:spcAft>
                  <a:spcPts val="588"/>
                </a:spcAft>
                <a:buFont typeface="+mj-lt"/>
                <a:buAutoNum type="arabicPeriod"/>
              </a:pPr>
              <a:r>
                <a:rPr lang="en-US" sz="1176" dirty="0">
                  <a:solidFill>
                    <a:srgbClr val="D8D8D8">
                      <a:lumMod val="10000"/>
                    </a:srgbClr>
                  </a:solidFill>
                </a:rPr>
                <a:t>Click the </a:t>
              </a:r>
              <a:r>
                <a:rPr lang="en-US" sz="1176" b="1" dirty="0">
                  <a:solidFill>
                    <a:srgbClr val="6F0710"/>
                  </a:solidFill>
                </a:rPr>
                <a:t>Export </a:t>
              </a:r>
              <a:br>
                <a:rPr lang="en-US" sz="1176" b="1" dirty="0">
                  <a:solidFill>
                    <a:srgbClr val="6F0710"/>
                  </a:solidFill>
                </a:rPr>
              </a:br>
              <a:r>
                <a:rPr lang="en-US" sz="1176" dirty="0">
                  <a:solidFill>
                    <a:srgbClr val="D8D8D8">
                      <a:lumMod val="10000"/>
                    </a:srgbClr>
                  </a:solidFill>
                </a:rPr>
                <a:t>button in the scorecard</a:t>
              </a:r>
              <a:br>
                <a:rPr lang="en-US" sz="1176" dirty="0">
                  <a:solidFill>
                    <a:srgbClr val="D8D8D8">
                      <a:lumMod val="10000"/>
                    </a:srgbClr>
                  </a:solidFill>
                </a:rPr>
              </a:br>
              <a:r>
                <a:rPr lang="en-US" sz="1176" dirty="0">
                  <a:solidFill>
                    <a:srgbClr val="D8D8D8">
                      <a:lumMod val="10000"/>
                    </a:srgbClr>
                  </a:solidFill>
                </a:rPr>
                <a:t>web platform from top </a:t>
              </a:r>
              <a:br>
                <a:rPr lang="en-US" sz="1176" dirty="0">
                  <a:solidFill>
                    <a:srgbClr val="D8D8D8">
                      <a:lumMod val="10000"/>
                    </a:srgbClr>
                  </a:solidFill>
                </a:rPr>
              </a:br>
              <a:r>
                <a:rPr lang="en-US" sz="1176" dirty="0">
                  <a:solidFill>
                    <a:srgbClr val="D8D8D8">
                      <a:lumMod val="10000"/>
                    </a:srgbClr>
                  </a:solidFill>
                </a:rPr>
                <a:t>navigation bar</a:t>
              </a:r>
            </a:p>
          </p:txBody>
        </p:sp>
        <p:sp>
          <p:nvSpPr>
            <p:cNvPr id="76" name="Rectangle 75">
              <a:extLst>
                <a:ext uri="{FF2B5EF4-FFF2-40B4-BE49-F238E27FC236}">
                  <a16:creationId xmlns:a16="http://schemas.microsoft.com/office/drawing/2014/main" id="{A4003722-FB5B-460A-BE7F-6AA5CE29F9AD}"/>
                </a:ext>
              </a:extLst>
            </p:cNvPr>
            <p:cNvSpPr/>
            <p:nvPr/>
          </p:nvSpPr>
          <p:spPr>
            <a:xfrm>
              <a:off x="6330163" y="2318804"/>
              <a:ext cx="2262166" cy="154199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pic>
          <p:nvPicPr>
            <p:cNvPr id="78" name="Picture 77">
              <a:extLst>
                <a:ext uri="{FF2B5EF4-FFF2-40B4-BE49-F238E27FC236}">
                  <a16:creationId xmlns:a16="http://schemas.microsoft.com/office/drawing/2014/main" id="{9B33AFED-8B6C-4A4D-B2F6-0CD649EEA126}"/>
                </a:ext>
              </a:extLst>
            </p:cNvPr>
            <p:cNvPicPr>
              <a:picLocks noChangeAspect="1"/>
            </p:cNvPicPr>
            <p:nvPr/>
          </p:nvPicPr>
          <p:blipFill>
            <a:blip r:embed="rId3"/>
            <a:stretch>
              <a:fillRect/>
            </a:stretch>
          </p:blipFill>
          <p:spPr>
            <a:xfrm>
              <a:off x="6516748" y="2922407"/>
              <a:ext cx="1888996" cy="302365"/>
            </a:xfrm>
            <a:prstGeom prst="rect">
              <a:avLst/>
            </a:prstGeom>
          </p:spPr>
        </p:pic>
        <p:sp>
          <p:nvSpPr>
            <p:cNvPr id="80" name="Oval 79">
              <a:extLst>
                <a:ext uri="{FF2B5EF4-FFF2-40B4-BE49-F238E27FC236}">
                  <a16:creationId xmlns:a16="http://schemas.microsoft.com/office/drawing/2014/main" id="{4041ABB6-19DD-49AA-81C6-C1265CD8A7D6}"/>
                </a:ext>
              </a:extLst>
            </p:cNvPr>
            <p:cNvSpPr/>
            <p:nvPr/>
          </p:nvSpPr>
          <p:spPr>
            <a:xfrm>
              <a:off x="8027103" y="2883798"/>
              <a:ext cx="408308" cy="412007"/>
            </a:xfrm>
            <a:prstGeom prst="ellipse">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grpSp>
          <p:nvGrpSpPr>
            <p:cNvPr id="89" name="Group 88">
              <a:extLst>
                <a:ext uri="{FF2B5EF4-FFF2-40B4-BE49-F238E27FC236}">
                  <a16:creationId xmlns:a16="http://schemas.microsoft.com/office/drawing/2014/main" id="{DA3A653E-B930-4D38-85B5-77E36036E3B5}"/>
                </a:ext>
              </a:extLst>
            </p:cNvPr>
            <p:cNvGrpSpPr/>
            <p:nvPr/>
          </p:nvGrpSpPr>
          <p:grpSpPr>
            <a:xfrm>
              <a:off x="8283874" y="4589738"/>
              <a:ext cx="276705" cy="274780"/>
              <a:chOff x="3069743" y="-995755"/>
              <a:chExt cx="276705" cy="276705"/>
            </a:xfrm>
          </p:grpSpPr>
          <p:sp>
            <p:nvSpPr>
              <p:cNvPr id="91" name="Rectangle: Rounded Corners 90">
                <a:extLst>
                  <a:ext uri="{FF2B5EF4-FFF2-40B4-BE49-F238E27FC236}">
                    <a16:creationId xmlns:a16="http://schemas.microsoft.com/office/drawing/2014/main" id="{8F51C9B0-C9C8-4350-9AF0-497DEB9DFDB1}"/>
                  </a:ext>
                </a:extLst>
              </p:cNvPr>
              <p:cNvSpPr/>
              <p:nvPr/>
            </p:nvSpPr>
            <p:spPr>
              <a:xfrm>
                <a:off x="3069743" y="-995755"/>
                <a:ext cx="276705" cy="276705"/>
              </a:xfrm>
              <a:prstGeom prst="roundRect">
                <a:avLst>
                  <a:gd name="adj" fmla="val 20855"/>
                </a:avLst>
              </a:prstGeom>
              <a:solidFill>
                <a:schemeClr val="bg1">
                  <a:lumMod val="95000"/>
                </a:schemeClr>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pic>
            <p:nvPicPr>
              <p:cNvPr id="87" name="Picture 86" descr="A sign in the dark&#10;&#10;Description automatically generated">
                <a:extLst>
                  <a:ext uri="{FF2B5EF4-FFF2-40B4-BE49-F238E27FC236}">
                    <a16:creationId xmlns:a16="http://schemas.microsoft.com/office/drawing/2014/main" id="{F07C4323-04F5-4215-B17D-3E64E2606E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0811" y="-990365"/>
                <a:ext cx="255600" cy="255600"/>
              </a:xfrm>
              <a:prstGeom prst="rect">
                <a:avLst/>
              </a:prstGeom>
            </p:spPr>
          </p:pic>
        </p:grpSp>
      </p:grpSp>
      <p:grpSp>
        <p:nvGrpSpPr>
          <p:cNvPr id="8" name="Group 7">
            <a:extLst>
              <a:ext uri="{FF2B5EF4-FFF2-40B4-BE49-F238E27FC236}">
                <a16:creationId xmlns:a16="http://schemas.microsoft.com/office/drawing/2014/main" id="{AA9AA224-D139-40E9-ACEF-0A8E642DD937}"/>
              </a:ext>
            </a:extLst>
          </p:cNvPr>
          <p:cNvGrpSpPr/>
          <p:nvPr/>
        </p:nvGrpSpPr>
        <p:grpSpPr>
          <a:xfrm>
            <a:off x="1543228" y="1357109"/>
            <a:ext cx="2402164" cy="4692059"/>
            <a:chOff x="457199" y="1384554"/>
            <a:chExt cx="2451101" cy="4787646"/>
          </a:xfrm>
        </p:grpSpPr>
        <p:sp>
          <p:nvSpPr>
            <p:cNvPr id="2" name="Rectangle: Rounded Corners 1">
              <a:extLst>
                <a:ext uri="{FF2B5EF4-FFF2-40B4-BE49-F238E27FC236}">
                  <a16:creationId xmlns:a16="http://schemas.microsoft.com/office/drawing/2014/main" id="{628374C3-9361-45D2-AAF9-37E8D550099F}"/>
                </a:ext>
              </a:extLst>
            </p:cNvPr>
            <p:cNvSpPr/>
            <p:nvPr/>
          </p:nvSpPr>
          <p:spPr>
            <a:xfrm>
              <a:off x="457200" y="1384554"/>
              <a:ext cx="2451100" cy="4787646"/>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 name="Title 4">
              <a:extLst>
                <a:ext uri="{FF2B5EF4-FFF2-40B4-BE49-F238E27FC236}">
                  <a16:creationId xmlns:a16="http://schemas.microsoft.com/office/drawing/2014/main" id="{A47E02FD-E8F9-42C1-99C6-6A9C95F47D7E}"/>
                </a:ext>
              </a:extLst>
            </p:cNvPr>
            <p:cNvSpPr txBox="1">
              <a:spLocks/>
            </p:cNvSpPr>
            <p:nvPr/>
          </p:nvSpPr>
          <p:spPr>
            <a:xfrm>
              <a:off x="457199" y="1802407"/>
              <a:ext cx="2451099" cy="443198"/>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568" dirty="0">
                  <a:solidFill>
                    <a:srgbClr val="6F0710"/>
                  </a:solidFill>
                </a:rPr>
                <a:t>Send email notification to all accounts</a:t>
              </a:r>
            </a:p>
          </p:txBody>
        </p:sp>
        <p:sp>
          <p:nvSpPr>
            <p:cNvPr id="51" name="Rectangle: Rounded Corners 50">
              <a:extLst>
                <a:ext uri="{FF2B5EF4-FFF2-40B4-BE49-F238E27FC236}">
                  <a16:creationId xmlns:a16="http://schemas.microsoft.com/office/drawing/2014/main" id="{144136BA-813C-44B6-8590-1EF94FAB7C8B}"/>
                </a:ext>
              </a:extLst>
            </p:cNvPr>
            <p:cNvSpPr/>
            <p:nvPr/>
          </p:nvSpPr>
          <p:spPr>
            <a:xfrm>
              <a:off x="913901" y="1466850"/>
              <a:ext cx="1537690" cy="259937"/>
            </a:xfrm>
            <a:prstGeom prst="roundRect">
              <a:avLst>
                <a:gd name="adj" fmla="val 19766"/>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078" b="1" dirty="0">
                  <a:solidFill>
                    <a:prstClr val="white"/>
                  </a:solidFill>
                  <a:latin typeface="Arial" panose="020B0604020202020204" pitchFamily="34" charset="0"/>
                  <a:cs typeface="Arial" panose="020B0604020202020204" pitchFamily="34" charset="0"/>
                </a:rPr>
                <a:t>Administrators only</a:t>
              </a:r>
            </a:p>
          </p:txBody>
        </p:sp>
        <p:sp>
          <p:nvSpPr>
            <p:cNvPr id="60" name="Text Placeholder 5">
              <a:extLst>
                <a:ext uri="{FF2B5EF4-FFF2-40B4-BE49-F238E27FC236}">
                  <a16:creationId xmlns:a16="http://schemas.microsoft.com/office/drawing/2014/main" id="{A83E1A41-4288-42FA-AEF6-199A01B87D42}"/>
                </a:ext>
              </a:extLst>
            </p:cNvPr>
            <p:cNvSpPr txBox="1">
              <a:spLocks/>
            </p:cNvSpPr>
            <p:nvPr/>
          </p:nvSpPr>
          <p:spPr>
            <a:xfrm>
              <a:off x="551663" y="4020692"/>
              <a:ext cx="2262166" cy="149784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Bef>
                  <a:spcPts val="196"/>
                </a:spcBef>
                <a:spcAft>
                  <a:spcPts val="588"/>
                </a:spcAft>
              </a:pPr>
              <a:r>
                <a:rPr lang="en-US" sz="1176" dirty="0">
                  <a:solidFill>
                    <a:srgbClr val="D8D8D8">
                      <a:lumMod val="10000"/>
                    </a:srgbClr>
                  </a:solidFill>
                </a:rPr>
                <a:t>To send a notification via email:</a:t>
              </a:r>
            </a:p>
            <a:p>
              <a:pPr marL="178912" indent="-178912" defTabSz="672067" fontAlgn="auto">
                <a:lnSpc>
                  <a:spcPct val="100000"/>
                </a:lnSpc>
                <a:spcBef>
                  <a:spcPts val="196"/>
                </a:spcBef>
                <a:spcAft>
                  <a:spcPts val="588"/>
                </a:spcAft>
                <a:buFont typeface="+mj-lt"/>
                <a:buAutoNum type="arabicPeriod"/>
              </a:pPr>
              <a:r>
                <a:rPr lang="en-US" sz="1176" dirty="0">
                  <a:solidFill>
                    <a:srgbClr val="D8D8D8">
                      <a:lumMod val="10000"/>
                    </a:srgbClr>
                  </a:solidFill>
                </a:rPr>
                <a:t>Click the </a:t>
              </a:r>
              <a:r>
                <a:rPr lang="en-US" sz="1176" b="1" dirty="0">
                  <a:solidFill>
                    <a:srgbClr val="6F0710"/>
                  </a:solidFill>
                </a:rPr>
                <a:t>notifications </a:t>
              </a:r>
              <a:br>
                <a:rPr lang="en-US" sz="1176" b="1" dirty="0">
                  <a:solidFill>
                    <a:srgbClr val="6F0710"/>
                  </a:solidFill>
                </a:rPr>
              </a:br>
              <a:r>
                <a:rPr lang="en-US" sz="1176" dirty="0">
                  <a:solidFill>
                    <a:srgbClr val="D8D8D8">
                      <a:lumMod val="10000"/>
                    </a:srgbClr>
                  </a:solidFill>
                </a:rPr>
                <a:t>button in the scorecard</a:t>
              </a:r>
              <a:br>
                <a:rPr lang="en-US" sz="1176" dirty="0">
                  <a:solidFill>
                    <a:srgbClr val="D8D8D8">
                      <a:lumMod val="10000"/>
                    </a:srgbClr>
                  </a:solidFill>
                </a:rPr>
              </a:br>
              <a:r>
                <a:rPr lang="en-US" sz="1176" dirty="0">
                  <a:solidFill>
                    <a:srgbClr val="D8D8D8">
                      <a:lumMod val="10000"/>
                    </a:srgbClr>
                  </a:solidFill>
                </a:rPr>
                <a:t>web platform</a:t>
              </a:r>
            </a:p>
            <a:p>
              <a:pPr marL="178912" indent="-178912" defTabSz="672067" fontAlgn="auto">
                <a:lnSpc>
                  <a:spcPct val="100000"/>
                </a:lnSpc>
                <a:spcBef>
                  <a:spcPts val="196"/>
                </a:spcBef>
                <a:spcAft>
                  <a:spcPts val="588"/>
                </a:spcAft>
                <a:buFont typeface="+mj-lt"/>
                <a:buAutoNum type="arabicPeriod"/>
              </a:pPr>
              <a:r>
                <a:rPr lang="en-US" sz="1176" dirty="0">
                  <a:solidFill>
                    <a:srgbClr val="D8D8D8">
                      <a:lumMod val="10000"/>
                    </a:srgbClr>
                  </a:solidFill>
                </a:rPr>
                <a:t>Click </a:t>
              </a:r>
              <a:r>
                <a:rPr lang="en-US" sz="1176" b="1" dirty="0">
                  <a:solidFill>
                    <a:srgbClr val="6F0710"/>
                  </a:solidFill>
                </a:rPr>
                <a:t>Send</a:t>
              </a:r>
              <a:r>
                <a:rPr lang="en-US" sz="1176" dirty="0">
                  <a:solidFill>
                    <a:srgbClr val="D8D8D8">
                      <a:lumMod val="10000"/>
                    </a:srgbClr>
                  </a:solidFill>
                </a:rPr>
                <a:t> in the </a:t>
              </a:r>
              <a:br>
                <a:rPr lang="en-US" sz="1176" dirty="0">
                  <a:solidFill>
                    <a:srgbClr val="D8D8D8">
                      <a:lumMod val="10000"/>
                    </a:srgbClr>
                  </a:solidFill>
                </a:rPr>
              </a:br>
              <a:r>
                <a:rPr lang="en-US" sz="1176" dirty="0">
                  <a:solidFill>
                    <a:srgbClr val="D8D8D8">
                      <a:lumMod val="10000"/>
                    </a:srgbClr>
                  </a:solidFill>
                </a:rPr>
                <a:t>General Notification </a:t>
              </a:r>
              <a:br>
                <a:rPr lang="en-US" sz="1176" dirty="0">
                  <a:solidFill>
                    <a:srgbClr val="D8D8D8">
                      <a:lumMod val="10000"/>
                    </a:srgbClr>
                  </a:solidFill>
                </a:rPr>
              </a:br>
              <a:r>
                <a:rPr lang="en-US" sz="1176" dirty="0">
                  <a:solidFill>
                    <a:srgbClr val="D8D8D8">
                      <a:lumMod val="10000"/>
                    </a:srgbClr>
                  </a:solidFill>
                </a:rPr>
                <a:t>pop-up</a:t>
              </a:r>
            </a:p>
          </p:txBody>
        </p:sp>
        <p:grpSp>
          <p:nvGrpSpPr>
            <p:cNvPr id="61" name="Group 60">
              <a:extLst>
                <a:ext uri="{FF2B5EF4-FFF2-40B4-BE49-F238E27FC236}">
                  <a16:creationId xmlns:a16="http://schemas.microsoft.com/office/drawing/2014/main" id="{B10CD93C-1795-41F8-900E-A473A5AC5FFE}"/>
                </a:ext>
              </a:extLst>
            </p:cNvPr>
            <p:cNvGrpSpPr/>
            <p:nvPr/>
          </p:nvGrpSpPr>
          <p:grpSpPr>
            <a:xfrm>
              <a:off x="2491404" y="4583317"/>
              <a:ext cx="276705" cy="278631"/>
              <a:chOff x="3861502" y="32959"/>
              <a:chExt cx="360000" cy="362506"/>
            </a:xfrm>
          </p:grpSpPr>
          <p:sp>
            <p:nvSpPr>
              <p:cNvPr id="62" name="Rectangle: Rounded Corners 61">
                <a:extLst>
                  <a:ext uri="{FF2B5EF4-FFF2-40B4-BE49-F238E27FC236}">
                    <a16:creationId xmlns:a16="http://schemas.microsoft.com/office/drawing/2014/main" id="{07BEE739-2109-4FB2-8C87-788622C43E41}"/>
                  </a:ext>
                </a:extLst>
              </p:cNvPr>
              <p:cNvSpPr/>
              <p:nvPr/>
            </p:nvSpPr>
            <p:spPr>
              <a:xfrm>
                <a:off x="3861502" y="32959"/>
                <a:ext cx="360000" cy="360000"/>
              </a:xfrm>
              <a:prstGeom prst="roundRect">
                <a:avLst>
                  <a:gd name="adj" fmla="val 20855"/>
                </a:avLst>
              </a:prstGeom>
              <a:solidFill>
                <a:schemeClr val="bg1">
                  <a:lumMod val="95000"/>
                </a:schemeClr>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pic>
            <p:nvPicPr>
              <p:cNvPr id="63" name="Picture 62" descr="A close up of a logo&#10;&#10;Description automatically generated">
                <a:extLst>
                  <a:ext uri="{FF2B5EF4-FFF2-40B4-BE49-F238E27FC236}">
                    <a16:creationId xmlns:a16="http://schemas.microsoft.com/office/drawing/2014/main" id="{8B8350EB-4862-4D92-8583-8B1CFEEE94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61502" y="35465"/>
                <a:ext cx="360000" cy="360000"/>
              </a:xfrm>
              <a:prstGeom prst="rect">
                <a:avLst/>
              </a:prstGeom>
            </p:spPr>
          </p:pic>
        </p:grpSp>
        <p:sp>
          <p:nvSpPr>
            <p:cNvPr id="64" name="Rectangle: Rounded Corners 63">
              <a:extLst>
                <a:ext uri="{FF2B5EF4-FFF2-40B4-BE49-F238E27FC236}">
                  <a16:creationId xmlns:a16="http://schemas.microsoft.com/office/drawing/2014/main" id="{51DB8B21-7AA8-4171-8998-BBB52651555D}"/>
                </a:ext>
              </a:extLst>
            </p:cNvPr>
            <p:cNvSpPr/>
            <p:nvPr/>
          </p:nvSpPr>
          <p:spPr>
            <a:xfrm>
              <a:off x="2141732" y="5209087"/>
              <a:ext cx="626377" cy="278631"/>
            </a:xfrm>
            <a:prstGeom prst="roundRect">
              <a:avLst>
                <a:gd name="adj" fmla="val 20855"/>
              </a:avLst>
            </a:prstGeom>
            <a:solidFill>
              <a:srgbClr val="F96507"/>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176" b="1" dirty="0">
                  <a:solidFill>
                    <a:prstClr val="white"/>
                  </a:solidFill>
                  <a:latin typeface="Arial" panose="020B0604020202020204" pitchFamily="34" charset="0"/>
                  <a:cs typeface="Arial" panose="020B0604020202020204" pitchFamily="34" charset="0"/>
                </a:rPr>
                <a:t>Send</a:t>
              </a:r>
            </a:p>
          </p:txBody>
        </p:sp>
        <p:sp>
          <p:nvSpPr>
            <p:cNvPr id="55" name="Rectangle 54">
              <a:extLst>
                <a:ext uri="{FF2B5EF4-FFF2-40B4-BE49-F238E27FC236}">
                  <a16:creationId xmlns:a16="http://schemas.microsoft.com/office/drawing/2014/main" id="{6C2F5601-BF61-413C-8DC6-BE7A10F8A394}"/>
                </a:ext>
              </a:extLst>
            </p:cNvPr>
            <p:cNvSpPr/>
            <p:nvPr/>
          </p:nvSpPr>
          <p:spPr>
            <a:xfrm>
              <a:off x="551663" y="2318804"/>
              <a:ext cx="2262166" cy="154199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pic>
          <p:nvPicPr>
            <p:cNvPr id="74" name="Picture 6">
              <a:extLst>
                <a:ext uri="{FF2B5EF4-FFF2-40B4-BE49-F238E27FC236}">
                  <a16:creationId xmlns:a16="http://schemas.microsoft.com/office/drawing/2014/main" id="{DEC4C12A-AE09-4149-AAAD-6DE15DFF8B0C}"/>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620194" y="2972188"/>
              <a:ext cx="2126210" cy="80989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77C562E-EAC5-4693-8AF4-1977E17F0231}"/>
                </a:ext>
              </a:extLst>
            </p:cNvPr>
            <p:cNvPicPr>
              <a:picLocks noChangeAspect="1"/>
            </p:cNvPicPr>
            <p:nvPr/>
          </p:nvPicPr>
          <p:blipFill>
            <a:blip r:embed="rId7"/>
            <a:stretch>
              <a:fillRect/>
            </a:stretch>
          </p:blipFill>
          <p:spPr>
            <a:xfrm>
              <a:off x="1243451" y="2370153"/>
              <a:ext cx="836353" cy="586609"/>
            </a:xfrm>
            <a:prstGeom prst="rect">
              <a:avLst/>
            </a:prstGeom>
          </p:spPr>
        </p:pic>
        <p:sp>
          <p:nvSpPr>
            <p:cNvPr id="5" name="Oval 4">
              <a:extLst>
                <a:ext uri="{FF2B5EF4-FFF2-40B4-BE49-F238E27FC236}">
                  <a16:creationId xmlns:a16="http://schemas.microsoft.com/office/drawing/2014/main" id="{D43907B8-A8B0-42BF-9D7C-C8757966D4C4}"/>
                </a:ext>
              </a:extLst>
            </p:cNvPr>
            <p:cNvSpPr/>
            <p:nvPr/>
          </p:nvSpPr>
          <p:spPr>
            <a:xfrm>
              <a:off x="1292693" y="2541923"/>
              <a:ext cx="408308" cy="412007"/>
            </a:xfrm>
            <a:prstGeom prst="ellipse">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11773074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24"/>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Our online courses are designed to support countries with the decentralisation of the scorecard</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Online courses</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040E9BB6-FAD5-DB4D-9D14-4671485DFDCD}"/>
              </a:ext>
            </a:extLst>
          </p:cNvPr>
          <p:cNvSpPr txBox="1">
            <a:spLocks/>
          </p:cNvSpPr>
          <p:nvPr/>
        </p:nvSpPr>
        <p:spPr>
          <a:xfrm>
            <a:off x="461524" y="1820629"/>
            <a:ext cx="4006487" cy="439879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Guides and toolkits </a:t>
            </a:r>
            <a:r>
              <a:rPr lang="en-US" sz="1470" dirty="0">
                <a:solidFill>
                  <a:srgbClr val="D8D8D8">
                    <a:lumMod val="10000"/>
                  </a:srgbClr>
                </a:solidFill>
              </a:rPr>
              <a:t>help countries create, </a:t>
            </a:r>
            <a:r>
              <a:rPr lang="en-US" sz="1470" dirty="0" err="1">
                <a:solidFill>
                  <a:srgbClr val="D8D8D8">
                    <a:lumMod val="10000"/>
                  </a:srgbClr>
                </a:solidFill>
              </a:rPr>
              <a:t>analyse</a:t>
            </a:r>
            <a:r>
              <a:rPr lang="en-US" sz="1470" dirty="0">
                <a:solidFill>
                  <a:srgbClr val="D8D8D8">
                    <a:lumMod val="10000"/>
                  </a:srgbClr>
                </a:solidFill>
              </a:rPr>
              <a:t> and improve scorecard tools</a:t>
            </a:r>
          </a:p>
          <a:p>
            <a:pPr marL="280035" indent="-280035" defTabSz="672067" fontAlgn="auto">
              <a:lnSpc>
                <a:spcPct val="100000"/>
              </a:lnSpc>
              <a:spcBef>
                <a:spcPts val="196"/>
              </a:spcBef>
              <a:spcAft>
                <a:spcPts val="392"/>
              </a:spcAft>
              <a:buFont typeface="Arial" panose="020B0604020202020204" pitchFamily="34" charset="0"/>
              <a:buChar char="•"/>
            </a:pPr>
            <a:r>
              <a:rPr lang="en-US" sz="1470" dirty="0">
                <a:solidFill>
                  <a:srgbClr val="D8D8D8">
                    <a:lumMod val="10000"/>
                  </a:srgbClr>
                </a:solidFill>
              </a:rPr>
              <a:t>Currently have courses on:</a:t>
            </a:r>
          </a:p>
          <a:p>
            <a:pPr marL="616069" lvl="2" indent="-280035" defTabSz="672067" fontAlgn="auto">
              <a:lnSpc>
                <a:spcPct val="100000"/>
              </a:lnSpc>
              <a:spcBef>
                <a:spcPts val="196"/>
              </a:spcBef>
              <a:spcAft>
                <a:spcPts val="392"/>
              </a:spcAft>
            </a:pPr>
            <a:r>
              <a:rPr lang="en-US" sz="1470" dirty="0">
                <a:solidFill>
                  <a:srgbClr val="D8D8D8">
                    <a:lumMod val="10000"/>
                  </a:srgbClr>
                </a:solidFill>
              </a:rPr>
              <a:t>Create and implement a new scorecard</a:t>
            </a:r>
          </a:p>
          <a:p>
            <a:pPr marL="616069" lvl="2" indent="-280035" defTabSz="672067" fontAlgn="auto">
              <a:lnSpc>
                <a:spcPct val="100000"/>
              </a:lnSpc>
              <a:spcBef>
                <a:spcPts val="196"/>
              </a:spcBef>
              <a:spcAft>
                <a:spcPts val="392"/>
              </a:spcAft>
            </a:pPr>
            <a:r>
              <a:rPr lang="en-US" sz="1470" dirty="0">
                <a:solidFill>
                  <a:srgbClr val="D8D8D8">
                    <a:lumMod val="10000"/>
                  </a:srgbClr>
                </a:solidFill>
              </a:rPr>
              <a:t>Strengthen an existing scorecard</a:t>
            </a:r>
          </a:p>
          <a:p>
            <a:pPr marL="616069" lvl="2" indent="-280035" defTabSz="672067" fontAlgn="auto">
              <a:lnSpc>
                <a:spcPct val="100000"/>
              </a:lnSpc>
              <a:spcBef>
                <a:spcPts val="196"/>
              </a:spcBef>
              <a:spcAft>
                <a:spcPts val="392"/>
              </a:spcAft>
            </a:pPr>
            <a:r>
              <a:rPr lang="en-US" sz="1470" dirty="0">
                <a:solidFill>
                  <a:srgbClr val="D8D8D8">
                    <a:lumMod val="10000"/>
                  </a:srgbClr>
                </a:solidFill>
              </a:rPr>
              <a:t>General web platform training</a:t>
            </a:r>
          </a:p>
          <a:p>
            <a:pPr marL="616069" lvl="2" indent="-280035" defTabSz="672067" fontAlgn="auto">
              <a:lnSpc>
                <a:spcPct val="100000"/>
              </a:lnSpc>
              <a:spcBef>
                <a:spcPts val="196"/>
              </a:spcBef>
              <a:spcAft>
                <a:spcPts val="392"/>
              </a:spcAft>
            </a:pPr>
            <a:r>
              <a:rPr lang="en-US" sz="1470" dirty="0">
                <a:solidFill>
                  <a:srgbClr val="D8D8D8">
                    <a:lumMod val="10000"/>
                  </a:srgbClr>
                </a:solidFill>
              </a:rPr>
              <a:t>Web platform training for administrators</a:t>
            </a:r>
          </a:p>
          <a:p>
            <a:pPr marL="280035" indent="-280035" defTabSz="672067" fontAlgn="auto">
              <a:lnSpc>
                <a:spcPct val="100000"/>
              </a:lnSpc>
              <a:spcBef>
                <a:spcPts val="588"/>
              </a:spcBef>
              <a:spcAft>
                <a:spcPts val="196"/>
              </a:spcAft>
              <a:buFont typeface="Arial" panose="020B0604020202020204" pitchFamily="34" charset="0"/>
              <a:buChar char="•"/>
            </a:pPr>
            <a:r>
              <a:rPr lang="en-US" sz="1470" dirty="0">
                <a:solidFill>
                  <a:srgbClr val="D8D8D8">
                    <a:lumMod val="10000"/>
                  </a:srgbClr>
                </a:solidFill>
              </a:rPr>
              <a:t>We are working on new courses, such as:</a:t>
            </a:r>
          </a:p>
          <a:p>
            <a:pPr marL="616069" lvl="2" indent="-280035" defTabSz="672067" fontAlgn="auto">
              <a:lnSpc>
                <a:spcPct val="100000"/>
              </a:lnSpc>
              <a:spcBef>
                <a:spcPts val="588"/>
              </a:spcBef>
              <a:spcAft>
                <a:spcPts val="196"/>
              </a:spcAft>
            </a:pPr>
            <a:r>
              <a:rPr lang="en-US" sz="1470" dirty="0">
                <a:solidFill>
                  <a:srgbClr val="D8D8D8">
                    <a:lumMod val="10000"/>
                  </a:srgbClr>
                </a:solidFill>
              </a:rPr>
              <a:t>Create a community scorecard</a:t>
            </a:r>
          </a:p>
          <a:p>
            <a:pPr marL="616069" lvl="2" indent="-280035" defTabSz="672067" fontAlgn="auto">
              <a:lnSpc>
                <a:spcPct val="100000"/>
              </a:lnSpc>
              <a:spcBef>
                <a:spcPts val="588"/>
              </a:spcBef>
              <a:spcAft>
                <a:spcPts val="196"/>
              </a:spcAft>
            </a:pPr>
            <a:r>
              <a:rPr lang="en-US" sz="1470" dirty="0" err="1">
                <a:solidFill>
                  <a:srgbClr val="D8D8D8">
                    <a:lumMod val="10000"/>
                  </a:srgbClr>
                </a:solidFill>
              </a:rPr>
              <a:t>Decentralising</a:t>
            </a:r>
            <a:r>
              <a:rPr lang="en-US" sz="1470" dirty="0">
                <a:solidFill>
                  <a:srgbClr val="D8D8D8">
                    <a:lumMod val="10000"/>
                  </a:srgbClr>
                </a:solidFill>
              </a:rPr>
              <a:t> scorecards</a:t>
            </a:r>
          </a:p>
          <a:p>
            <a:pPr marL="616069" lvl="2" indent="-280035" defTabSz="672067" fontAlgn="auto">
              <a:lnSpc>
                <a:spcPct val="100000"/>
              </a:lnSpc>
              <a:spcBef>
                <a:spcPts val="588"/>
              </a:spcBef>
              <a:spcAft>
                <a:spcPts val="196"/>
              </a:spcAft>
            </a:pPr>
            <a:r>
              <a:rPr lang="en-US" sz="1470" dirty="0">
                <a:solidFill>
                  <a:srgbClr val="D8D8D8">
                    <a:lumMod val="10000"/>
                  </a:srgbClr>
                </a:solidFill>
              </a:rPr>
              <a:t>Using scorecards for advocacy</a:t>
            </a:r>
          </a:p>
          <a:p>
            <a:pPr marL="280035" indent="-280035" defTabSz="672067" fontAlgn="auto">
              <a:lnSpc>
                <a:spcPct val="100000"/>
              </a:lnSpc>
              <a:spcBef>
                <a:spcPts val="588"/>
              </a:spcBef>
              <a:spcAft>
                <a:spcPts val="196"/>
              </a:spcAft>
              <a:buFont typeface="Arial" panose="020B0604020202020204" pitchFamily="34" charset="0"/>
              <a:buChar char="•"/>
            </a:pPr>
            <a:r>
              <a:rPr lang="en-US" sz="1470" dirty="0">
                <a:solidFill>
                  <a:srgbClr val="D8D8D8">
                    <a:lumMod val="10000"/>
                  </a:srgbClr>
                </a:solidFill>
              </a:rPr>
              <a:t>Are there other course topics that would be helpful to cover?</a:t>
            </a:r>
          </a:p>
          <a:p>
            <a:pPr marL="280035" indent="-280035" defTabSz="672067" fontAlgn="auto">
              <a:lnSpc>
                <a:spcPct val="100000"/>
              </a:lnSpc>
              <a:spcBef>
                <a:spcPts val="588"/>
              </a:spcBef>
              <a:spcAft>
                <a:spcPts val="196"/>
              </a:spcAft>
              <a:buFont typeface="Arial" panose="020B0604020202020204" pitchFamily="34" charset="0"/>
              <a:buChar char="•"/>
            </a:pPr>
            <a:r>
              <a:rPr lang="en-US" sz="1470" dirty="0">
                <a:solidFill>
                  <a:srgbClr val="D8D8D8">
                    <a:lumMod val="10000"/>
                  </a:srgbClr>
                </a:solidFill>
              </a:rPr>
              <a:t>Based on existing lessons, we can create a custom course for your country</a:t>
            </a:r>
          </a:p>
        </p:txBody>
      </p:sp>
      <p:pic>
        <p:nvPicPr>
          <p:cNvPr id="6" name="Picture 5">
            <a:extLst>
              <a:ext uri="{FF2B5EF4-FFF2-40B4-BE49-F238E27FC236}">
                <a16:creationId xmlns:a16="http://schemas.microsoft.com/office/drawing/2014/main" id="{F752B42D-38A4-2D44-89F4-582EC9BDA9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0528" y="1820629"/>
            <a:ext cx="4245131" cy="2176212"/>
          </a:xfrm>
          <a:prstGeom prst="rect">
            <a:avLst/>
          </a:prstGeom>
        </p:spPr>
      </p:pic>
    </p:spTree>
    <p:extLst>
      <p:ext uri="{BB962C8B-B14F-4D97-AF65-F5344CB8AC3E}">
        <p14:creationId xmlns:p14="http://schemas.microsoft.com/office/powerpoint/2010/main" val="16145033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Ideas for sharing your scorecard</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How to share your scorecard</a:t>
            </a:r>
          </a:p>
        </p:txBody>
      </p:sp>
      <p:sp>
        <p:nvSpPr>
          <p:cNvPr id="3" name="Rectangle: Rounded Corners 2">
            <a:extLst>
              <a:ext uri="{FF2B5EF4-FFF2-40B4-BE49-F238E27FC236}">
                <a16:creationId xmlns:a16="http://schemas.microsoft.com/office/drawing/2014/main" id="{92313BDA-AB67-41B4-9EEB-F72E72CD485B}"/>
              </a:ext>
            </a:extLst>
          </p:cNvPr>
          <p:cNvSpPr/>
          <p:nvPr/>
        </p:nvSpPr>
        <p:spPr>
          <a:xfrm>
            <a:off x="6290647"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666" b="1" dirty="0">
                <a:solidFill>
                  <a:srgbClr val="6F0710"/>
                </a:solidFill>
                <a:latin typeface="Arial" panose="020B0604020202020204" pitchFamily="34" charset="0"/>
                <a:cs typeface="Arial" panose="020B0604020202020204" pitchFamily="34" charset="0"/>
              </a:rPr>
              <a:t>Share on the Knowledge Hub – the one stop shop for scorecard and accountability mechanisms</a:t>
            </a:r>
          </a:p>
        </p:txBody>
      </p:sp>
      <p:sp>
        <p:nvSpPr>
          <p:cNvPr id="5" name="Rectangle: Rounded Corners 4">
            <a:extLst>
              <a:ext uri="{FF2B5EF4-FFF2-40B4-BE49-F238E27FC236}">
                <a16:creationId xmlns:a16="http://schemas.microsoft.com/office/drawing/2014/main" id="{36D45A86-808B-49C8-BD7A-612215903A8B}"/>
              </a:ext>
            </a:extLst>
          </p:cNvPr>
          <p:cNvSpPr/>
          <p:nvPr/>
        </p:nvSpPr>
        <p:spPr>
          <a:xfrm>
            <a:off x="448072"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666" b="1" dirty="0">
                <a:solidFill>
                  <a:srgbClr val="6F0710"/>
                </a:solidFill>
                <a:latin typeface="Arial" panose="020B0604020202020204" pitchFamily="34" charset="0"/>
                <a:cs typeface="Arial" panose="020B0604020202020204" pitchFamily="34" charset="0"/>
              </a:rPr>
              <a:t>Present your scorecard analysis at an existing management meeting, have printed copies available for sharing</a:t>
            </a:r>
          </a:p>
        </p:txBody>
      </p:sp>
      <p:sp>
        <p:nvSpPr>
          <p:cNvPr id="6" name="Rectangle: Rounded Corners 5">
            <a:extLst>
              <a:ext uri="{FF2B5EF4-FFF2-40B4-BE49-F238E27FC236}">
                <a16:creationId xmlns:a16="http://schemas.microsoft.com/office/drawing/2014/main" id="{C8AF4ECB-EB30-43B8-B3EB-49B06E314EE9}"/>
              </a:ext>
            </a:extLst>
          </p:cNvPr>
          <p:cNvSpPr/>
          <p:nvPr/>
        </p:nvSpPr>
        <p:spPr>
          <a:xfrm>
            <a:off x="3369360"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666" b="1" dirty="0">
                <a:solidFill>
                  <a:srgbClr val="6F0710"/>
                </a:solidFill>
                <a:latin typeface="Arial" panose="020B0604020202020204" pitchFamily="34" charset="0"/>
                <a:cs typeface="Arial" panose="020B0604020202020204" pitchFamily="34" charset="0"/>
              </a:rPr>
              <a:t>Download your scorecard as a PDF and share with colleagues and partners </a:t>
            </a:r>
            <a:br>
              <a:rPr lang="en-US" sz="1666" b="1" dirty="0">
                <a:solidFill>
                  <a:srgbClr val="6F0710"/>
                </a:solidFill>
                <a:latin typeface="Arial" panose="020B0604020202020204" pitchFamily="34" charset="0"/>
                <a:cs typeface="Arial" panose="020B0604020202020204" pitchFamily="34" charset="0"/>
              </a:rPr>
            </a:br>
            <a:r>
              <a:rPr lang="en-US" sz="1666" b="1" dirty="0">
                <a:solidFill>
                  <a:srgbClr val="6F0710"/>
                </a:solidFill>
                <a:latin typeface="Arial" panose="020B0604020202020204" pitchFamily="34" charset="0"/>
                <a:cs typeface="Arial" panose="020B0604020202020204" pitchFamily="34" charset="0"/>
              </a:rPr>
              <a:t>by email</a:t>
            </a:r>
          </a:p>
        </p:txBody>
      </p:sp>
      <p:sp>
        <p:nvSpPr>
          <p:cNvPr id="8" name="Rectangle: Rounded Corners 7">
            <a:extLst>
              <a:ext uri="{FF2B5EF4-FFF2-40B4-BE49-F238E27FC236}">
                <a16:creationId xmlns:a16="http://schemas.microsoft.com/office/drawing/2014/main" id="{11F826B5-7194-4047-BDCE-0BD9D8DCFFE8}"/>
              </a:ext>
            </a:extLst>
          </p:cNvPr>
          <p:cNvSpPr/>
          <p:nvPr/>
        </p:nvSpPr>
        <p:spPr>
          <a:xfrm>
            <a:off x="6290647"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666" b="1" dirty="0">
                <a:solidFill>
                  <a:srgbClr val="6F0710"/>
                </a:solidFill>
                <a:latin typeface="Arial" panose="020B0604020202020204" pitchFamily="34" charset="0"/>
                <a:cs typeface="Arial" panose="020B0604020202020204" pitchFamily="34" charset="0"/>
              </a:rPr>
              <a:t>Create a scorecard WhatsApp group and share in the group for a discussion</a:t>
            </a:r>
          </a:p>
        </p:txBody>
      </p:sp>
      <p:sp>
        <p:nvSpPr>
          <p:cNvPr id="12" name="Rectangle: Rounded Corners 11">
            <a:extLst>
              <a:ext uri="{FF2B5EF4-FFF2-40B4-BE49-F238E27FC236}">
                <a16:creationId xmlns:a16="http://schemas.microsoft.com/office/drawing/2014/main" id="{31EEC4F0-0E0F-428F-8A78-C4E8ED2B07E8}"/>
              </a:ext>
            </a:extLst>
          </p:cNvPr>
          <p:cNvSpPr/>
          <p:nvPr/>
        </p:nvSpPr>
        <p:spPr>
          <a:xfrm>
            <a:off x="448072"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666" b="1" dirty="0">
                <a:solidFill>
                  <a:srgbClr val="6F0710"/>
                </a:solidFill>
                <a:latin typeface="Arial" panose="020B0604020202020204" pitchFamily="34" charset="0"/>
                <a:cs typeface="Arial" panose="020B0604020202020204" pitchFamily="34" charset="0"/>
              </a:rPr>
              <a:t>Publish on the Ministry of Health or another public website</a:t>
            </a:r>
          </a:p>
        </p:txBody>
      </p:sp>
      <p:sp>
        <p:nvSpPr>
          <p:cNvPr id="14" name="Rectangle: Rounded Corners 13">
            <a:extLst>
              <a:ext uri="{FF2B5EF4-FFF2-40B4-BE49-F238E27FC236}">
                <a16:creationId xmlns:a16="http://schemas.microsoft.com/office/drawing/2014/main" id="{D646D8A7-BBEE-47D4-B0D6-75B70503E698}"/>
              </a:ext>
            </a:extLst>
          </p:cNvPr>
          <p:cNvSpPr/>
          <p:nvPr/>
        </p:nvSpPr>
        <p:spPr>
          <a:xfrm>
            <a:off x="3369360"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666" b="1" dirty="0">
                <a:solidFill>
                  <a:srgbClr val="6F0710"/>
                </a:solidFill>
                <a:latin typeface="Arial" panose="020B0604020202020204" pitchFamily="34" charset="0"/>
                <a:cs typeface="Arial" panose="020B0604020202020204" pitchFamily="34" charset="0"/>
              </a:rPr>
              <a:t>Share in a quarterly health bulletin for all stakeholders including partners</a:t>
            </a:r>
          </a:p>
        </p:txBody>
      </p:sp>
    </p:spTree>
    <p:custDataLst>
      <p:tags r:id="rId1"/>
    </p:custDataLst>
    <p:extLst>
      <p:ext uri="{BB962C8B-B14F-4D97-AF65-F5344CB8AC3E}">
        <p14:creationId xmlns:p14="http://schemas.microsoft.com/office/powerpoint/2010/main" val="32315595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85B17C85-56ED-4CDA-BBC0-FD62BF55A551}"/>
              </a:ext>
            </a:extLst>
          </p:cNvPr>
          <p:cNvSpPr txBox="1">
            <a:spLocks/>
          </p:cNvSpPr>
          <p:nvPr/>
        </p:nvSpPr>
        <p:spPr>
          <a:xfrm>
            <a:off x="455710" y="4180023"/>
            <a:ext cx="8048430" cy="1737142"/>
          </a:xfrm>
          <a:prstGeom prst="rect">
            <a:avLst/>
          </a:prstGeom>
        </p:spPr>
        <p:txBody>
          <a:bodyPr vert="horz" wrap="square" lIns="0" tIns="0" rIns="0" bIns="0" rtlCol="0" anchor="ctr">
            <a:spAutoFit/>
          </a:bodyPr>
          <a:lstStyle>
            <a:lvl1pPr algn="l" defTabSz="672067" rtl="0" eaLnBrk="1" latinLnBrk="0" hangingPunct="1">
              <a:lnSpc>
                <a:spcPct val="90000"/>
              </a:lnSpc>
              <a:spcBef>
                <a:spcPct val="0"/>
              </a:spcBef>
              <a:buNone/>
              <a:defRPr sz="264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marL="0" marR="0" lvl="0" indent="0" algn="ctr" defTabSz="672067"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How to share the scorecard with high-level decision makers</a:t>
            </a: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endParaRPr kumimoji="0" lang="en-US"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8" name="Picture 7">
            <a:extLst>
              <a:ext uri="{FF2B5EF4-FFF2-40B4-BE49-F238E27FC236}">
                <a16:creationId xmlns:a16="http://schemas.microsoft.com/office/drawing/2014/main" id="{393BBE19-56A8-4EBD-B210-04B0887D6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234" y="1775996"/>
            <a:ext cx="7352982" cy="1737142"/>
          </a:xfrm>
          <a:prstGeom prst="rect">
            <a:avLst/>
          </a:prstGeom>
        </p:spPr>
      </p:pic>
    </p:spTree>
    <p:extLst>
      <p:ext uri="{BB962C8B-B14F-4D97-AF65-F5344CB8AC3E}">
        <p14:creationId xmlns:p14="http://schemas.microsoft.com/office/powerpoint/2010/main" val="13899150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3" title="Use the scorecard for high level engagement mp4">
            <a:hlinkClick r:id="" action="ppaction://media"/>
            <a:extLst>
              <a:ext uri="{FF2B5EF4-FFF2-40B4-BE49-F238E27FC236}">
                <a16:creationId xmlns:a16="http://schemas.microsoft.com/office/drawing/2014/main" id="{CEF55CF2-BD55-4C4D-8849-EEB23FD62415}"/>
              </a:ext>
            </a:extLst>
          </p:cNvPr>
          <p:cNvPicPr>
            <a:picLocks noRot="1" noChangeAspect="1"/>
          </p:cNvPicPr>
          <p:nvPr>
            <a:videoFile r:link="rId1"/>
          </p:nvPr>
        </p:nvPicPr>
        <p:blipFill>
          <a:blip r:embed="rId3"/>
          <a:stretch>
            <a:fillRect/>
          </a:stretch>
        </p:blipFill>
        <p:spPr>
          <a:xfrm>
            <a:off x="553554" y="519031"/>
            <a:ext cx="7705474" cy="5779105"/>
          </a:xfrm>
          <a:prstGeom prst="rect">
            <a:avLst/>
          </a:prstGeom>
        </p:spPr>
      </p:pic>
      <p:sp>
        <p:nvSpPr>
          <p:cNvPr id="5" name="Title 1">
            <a:extLst>
              <a:ext uri="{FF2B5EF4-FFF2-40B4-BE49-F238E27FC236}">
                <a16:creationId xmlns:a16="http://schemas.microsoft.com/office/drawing/2014/main" id="{D16EC76E-A44C-4E26-8A2F-F46B892515A8}"/>
              </a:ext>
            </a:extLst>
          </p:cNvPr>
          <p:cNvSpPr txBox="1">
            <a:spLocks/>
          </p:cNvSpPr>
          <p:nvPr/>
        </p:nvSpPr>
        <p:spPr>
          <a:xfrm>
            <a:off x="481720" y="85345"/>
            <a:ext cx="6858728" cy="1447704"/>
          </a:xfrm>
          <a:prstGeom prst="rect">
            <a:avLst/>
          </a:prstGeom>
        </p:spPr>
        <p:txBody>
          <a:bodyPr>
            <a:normAutofit fontScale="97500"/>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fr-FR" sz="1600" kern="0" dirty="0">
                <a:solidFill>
                  <a:schemeClr val="tx1"/>
                </a:solidFill>
              </a:rPr>
              <a:t>Video: </a:t>
            </a:r>
            <a:r>
              <a:rPr lang="fr-FR" sz="1600" kern="0" dirty="0" err="1">
                <a:solidFill>
                  <a:schemeClr val="tx1"/>
                </a:solidFill>
              </a:rPr>
              <a:t>Using</a:t>
            </a:r>
            <a:r>
              <a:rPr lang="fr-FR" sz="1600" kern="0" dirty="0">
                <a:solidFill>
                  <a:schemeClr val="tx1"/>
                </a:solidFill>
              </a:rPr>
              <a:t> the scorecard for </a:t>
            </a:r>
            <a:r>
              <a:rPr lang="fr-FR" sz="1600" kern="0" dirty="0" err="1">
                <a:solidFill>
                  <a:schemeClr val="tx1"/>
                </a:solidFill>
              </a:rPr>
              <a:t>engaging</a:t>
            </a:r>
            <a:r>
              <a:rPr lang="fr-FR" sz="1600" kern="0" dirty="0">
                <a:solidFill>
                  <a:schemeClr val="tx1"/>
                </a:solidFill>
              </a:rPr>
              <a:t>  high-</a:t>
            </a:r>
            <a:r>
              <a:rPr lang="fr-FR" sz="1600" kern="0" dirty="0" err="1">
                <a:solidFill>
                  <a:schemeClr val="tx1"/>
                </a:solidFill>
              </a:rPr>
              <a:t>level</a:t>
            </a:r>
            <a:r>
              <a:rPr lang="fr-FR" sz="1600" kern="0" dirty="0">
                <a:solidFill>
                  <a:schemeClr val="tx1"/>
                </a:solidFill>
              </a:rPr>
              <a:t> </a:t>
            </a:r>
            <a:r>
              <a:rPr lang="fr-FR" sz="1600" kern="0" dirty="0" err="1">
                <a:solidFill>
                  <a:schemeClr val="tx1"/>
                </a:solidFill>
              </a:rPr>
              <a:t>decision</a:t>
            </a:r>
            <a:r>
              <a:rPr lang="fr-FR" sz="1600" kern="0" dirty="0">
                <a:solidFill>
                  <a:schemeClr val="tx1"/>
                </a:solidFill>
              </a:rPr>
              <a:t> </a:t>
            </a:r>
            <a:r>
              <a:rPr lang="fr-FR" sz="1600" kern="0" dirty="0" err="1">
                <a:solidFill>
                  <a:schemeClr val="tx1"/>
                </a:solidFill>
              </a:rPr>
              <a:t>makers</a:t>
            </a:r>
            <a:br>
              <a:rPr lang="fr-FR" sz="3136" kern="0" dirty="0">
                <a:solidFill>
                  <a:schemeClr val="tx1"/>
                </a:solidFill>
              </a:rPr>
            </a:br>
            <a:br>
              <a:rPr lang="fr-FR" sz="3136" kern="0" dirty="0">
                <a:solidFill>
                  <a:schemeClr val="tx1"/>
                </a:solidFill>
              </a:rPr>
            </a:br>
            <a:endParaRPr lang="en-US" sz="3136" kern="0" dirty="0">
              <a:solidFill>
                <a:schemeClr val="tx1"/>
              </a:solidFill>
            </a:endParaRPr>
          </a:p>
        </p:txBody>
      </p:sp>
    </p:spTree>
    <p:extLst>
      <p:ext uri="{BB962C8B-B14F-4D97-AF65-F5344CB8AC3E}">
        <p14:creationId xmlns:p14="http://schemas.microsoft.com/office/powerpoint/2010/main" val="391095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Scorecards are useful tools for leaders to drive action and </a:t>
            </a:r>
            <a:r>
              <a:rPr lang="en-US" dirty="0" err="1"/>
              <a:t>mobilise</a:t>
            </a:r>
            <a:r>
              <a:rPr lang="en-US" dirty="0"/>
              <a:t> resource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42234"/>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en-US" sz="2352" b="0" dirty="0">
                <a:solidFill>
                  <a:schemeClr val="tx1">
                    <a:lumMod val="65000"/>
                    <a:lumOff val="35000"/>
                  </a:schemeClr>
                </a:solidFill>
              </a:rPr>
              <a:t>Introduction</a:t>
            </a:r>
            <a:endParaRPr lang="en-GB" sz="2352" b="0" dirty="0">
              <a:solidFill>
                <a:schemeClr val="tx1">
                  <a:lumMod val="65000"/>
                  <a:lumOff val="35000"/>
                </a:schemeClr>
              </a:solidFill>
            </a:endParaRP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838329"/>
            <a:ext cx="8065294" cy="343703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en-US" sz="1764" dirty="0">
                <a:solidFill>
                  <a:schemeClr val="bg2">
                    <a:lumMod val="10000"/>
                  </a:schemeClr>
                </a:solidFill>
              </a:rPr>
              <a:t>Scorecard management tools are useful for political leaders:</a:t>
            </a:r>
          </a:p>
          <a:p>
            <a:pPr marL="261366" indent="-261366">
              <a:lnSpc>
                <a:spcPts val="2352"/>
              </a:lnSpc>
              <a:spcAft>
                <a:spcPts val="588"/>
              </a:spcAft>
              <a:buFont typeface="Arial" panose="020B0604020202020204" pitchFamily="34" charset="0"/>
              <a:buChar char="•"/>
            </a:pPr>
            <a:r>
              <a:rPr lang="en-US" sz="1764" b="1" dirty="0">
                <a:solidFill>
                  <a:schemeClr val="accent3"/>
                </a:solidFill>
              </a:rPr>
              <a:t>Heads of State and Government </a:t>
            </a:r>
            <a:r>
              <a:rPr lang="en-US" sz="1764" dirty="0">
                <a:solidFill>
                  <a:schemeClr val="bg2">
                    <a:lumMod val="10000"/>
                  </a:schemeClr>
                </a:solidFill>
              </a:rPr>
              <a:t>can be made aware of progress and gaps and use political power and resources to drive action</a:t>
            </a:r>
          </a:p>
          <a:p>
            <a:pPr marL="261366" indent="-261366">
              <a:lnSpc>
                <a:spcPts val="2352"/>
              </a:lnSpc>
              <a:spcAft>
                <a:spcPts val="588"/>
              </a:spcAft>
              <a:buFont typeface="Arial" panose="020B0604020202020204" pitchFamily="34" charset="0"/>
              <a:buChar char="•"/>
            </a:pPr>
            <a:r>
              <a:rPr lang="en-US" sz="1764" b="1" dirty="0">
                <a:solidFill>
                  <a:schemeClr val="accent3"/>
                </a:solidFill>
              </a:rPr>
              <a:t>Ministers</a:t>
            </a:r>
            <a:r>
              <a:rPr lang="en-US" sz="1764" dirty="0">
                <a:solidFill>
                  <a:schemeClr val="bg2">
                    <a:lumMod val="10000"/>
                  </a:schemeClr>
                </a:solidFill>
              </a:rPr>
              <a:t> can be made aware of urgent bottlenecks and ensure decisions are made to fast track implementation of key activities</a:t>
            </a:r>
          </a:p>
          <a:p>
            <a:pPr marL="261366" indent="-261366">
              <a:lnSpc>
                <a:spcPts val="2352"/>
              </a:lnSpc>
              <a:spcAft>
                <a:spcPts val="588"/>
              </a:spcAft>
              <a:buFont typeface="Arial" panose="020B0604020202020204" pitchFamily="34" charset="0"/>
              <a:buChar char="•"/>
            </a:pPr>
            <a:r>
              <a:rPr lang="en-US" sz="1764" b="1" dirty="0">
                <a:solidFill>
                  <a:schemeClr val="accent3"/>
                </a:solidFill>
              </a:rPr>
              <a:t>Members of Parliament</a:t>
            </a:r>
            <a:r>
              <a:rPr lang="en-US" sz="1764" b="1" dirty="0">
                <a:solidFill>
                  <a:schemeClr val="bg2">
                    <a:lumMod val="10000"/>
                  </a:schemeClr>
                </a:solidFill>
              </a:rPr>
              <a:t> </a:t>
            </a:r>
            <a:r>
              <a:rPr lang="en-US" sz="1764" dirty="0">
                <a:solidFill>
                  <a:schemeClr val="bg2">
                    <a:lumMod val="10000"/>
                  </a:schemeClr>
                </a:solidFill>
              </a:rPr>
              <a:t>can follow real time data on the performance of key indicators in their constituency  </a:t>
            </a:r>
          </a:p>
          <a:p>
            <a:pPr marL="261366" indent="-261366">
              <a:lnSpc>
                <a:spcPts val="2352"/>
              </a:lnSpc>
              <a:spcAft>
                <a:spcPts val="588"/>
              </a:spcAft>
              <a:buFont typeface="Arial" panose="020B0604020202020204" pitchFamily="34" charset="0"/>
              <a:buChar char="•"/>
            </a:pPr>
            <a:r>
              <a:rPr lang="en-US" sz="1764" b="1" dirty="0">
                <a:solidFill>
                  <a:schemeClr val="accent3"/>
                </a:solidFill>
              </a:rPr>
              <a:t>Local leaders</a:t>
            </a:r>
            <a:r>
              <a:rPr lang="en-US" sz="1764" dirty="0">
                <a:solidFill>
                  <a:schemeClr val="accent3"/>
                </a:solidFill>
              </a:rPr>
              <a:t> </a:t>
            </a:r>
            <a:r>
              <a:rPr lang="en-US" sz="1764" dirty="0">
                <a:solidFill>
                  <a:schemeClr val="bg2">
                    <a:lumMod val="10000"/>
                  </a:schemeClr>
                </a:solidFill>
              </a:rPr>
              <a:t>can </a:t>
            </a:r>
            <a:r>
              <a:rPr lang="en-US" sz="1764" dirty="0" err="1">
                <a:solidFill>
                  <a:schemeClr val="bg2">
                    <a:lumMod val="10000"/>
                  </a:schemeClr>
                </a:solidFill>
              </a:rPr>
              <a:t>mobilise</a:t>
            </a:r>
            <a:r>
              <a:rPr lang="en-US" sz="1764" dirty="0">
                <a:solidFill>
                  <a:schemeClr val="bg2">
                    <a:lumMod val="10000"/>
                  </a:schemeClr>
                </a:solidFill>
              </a:rPr>
              <a:t> resources for the community </a:t>
            </a:r>
          </a:p>
          <a:p>
            <a:pPr marL="261366" indent="-261366">
              <a:lnSpc>
                <a:spcPts val="2352"/>
              </a:lnSpc>
              <a:spcAft>
                <a:spcPts val="588"/>
              </a:spcAft>
              <a:buFont typeface="Arial" panose="020B0604020202020204" pitchFamily="34" charset="0"/>
              <a:buChar char="•"/>
            </a:pPr>
            <a:r>
              <a:rPr lang="en-US" sz="1764" b="1" dirty="0">
                <a:solidFill>
                  <a:schemeClr val="accent3"/>
                </a:solidFill>
              </a:rPr>
              <a:t>International stakeholders</a:t>
            </a:r>
            <a:r>
              <a:rPr lang="en-US" sz="1764" dirty="0">
                <a:solidFill>
                  <a:schemeClr val="accent3"/>
                </a:solidFill>
              </a:rPr>
              <a:t> </a:t>
            </a:r>
            <a:r>
              <a:rPr lang="en-US" sz="1764" dirty="0">
                <a:solidFill>
                  <a:schemeClr val="bg2">
                    <a:lumMod val="10000"/>
                  </a:schemeClr>
                </a:solidFill>
              </a:rPr>
              <a:t>such as donors and Partners (such as WHO, UNICEF, UNFPA), Regional Economic Communities, Ambassadors.</a:t>
            </a:r>
          </a:p>
        </p:txBody>
      </p:sp>
    </p:spTree>
    <p:custDataLst>
      <p:tags r:id="rId1"/>
    </p:custDataLst>
    <p:extLst>
      <p:ext uri="{BB962C8B-B14F-4D97-AF65-F5344CB8AC3E}">
        <p14:creationId xmlns:p14="http://schemas.microsoft.com/office/powerpoint/2010/main" val="3043918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Example actions leaders can take </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42234"/>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Who can be involved</a:t>
            </a:r>
          </a:p>
        </p:txBody>
      </p:sp>
      <p:sp>
        <p:nvSpPr>
          <p:cNvPr id="5" name="Text Placeholder 5">
            <a:extLst>
              <a:ext uri="{FF2B5EF4-FFF2-40B4-BE49-F238E27FC236}">
                <a16:creationId xmlns:a16="http://schemas.microsoft.com/office/drawing/2014/main" id="{89B342CB-53B1-450E-B243-07FE262C705C}"/>
              </a:ext>
            </a:extLst>
          </p:cNvPr>
          <p:cNvSpPr txBox="1">
            <a:spLocks/>
          </p:cNvSpPr>
          <p:nvPr/>
        </p:nvSpPr>
        <p:spPr>
          <a:xfrm>
            <a:off x="448072" y="1427597"/>
            <a:ext cx="8065294" cy="374480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Login to the scorecard web platform or mobile app to see how the country or a subnational region is performing.</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Demand immediate action if there are indicators requiring attention.</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Monitor action implementation and </a:t>
            </a:r>
            <a:r>
              <a:rPr lang="en-US" sz="1764" dirty="0" err="1">
                <a:solidFill>
                  <a:srgbClr val="D8D8D8">
                    <a:lumMod val="10000"/>
                  </a:srgbClr>
                </a:solidFill>
              </a:rPr>
              <a:t>mobilise</a:t>
            </a:r>
            <a:r>
              <a:rPr lang="en-US" sz="1764" dirty="0">
                <a:solidFill>
                  <a:srgbClr val="D8D8D8">
                    <a:lumMod val="10000"/>
                  </a:srgbClr>
                </a:solidFill>
              </a:rPr>
              <a:t> support if necessary.</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Mandate subnational health officers to use the scorecard every quarter to develop actions and encourage entry of action into action tracker. </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Use the scorecard tool to advocate for financial support for interventions, budget and allocate resources for health and ensure funds are used according to plan.</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Disseminate the scorecard to other key stakeholders and encourage scorecard discussions in existing management meetings.</a:t>
            </a:r>
          </a:p>
        </p:txBody>
      </p:sp>
    </p:spTree>
    <p:custDataLst>
      <p:tags r:id="rId1"/>
    </p:custDataLst>
    <p:extLst>
      <p:ext uri="{BB962C8B-B14F-4D97-AF65-F5344CB8AC3E}">
        <p14:creationId xmlns:p14="http://schemas.microsoft.com/office/powerpoint/2010/main" val="21576044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B0485463-667B-4AA4-8A47-4D92ADF45BF4}"/>
              </a:ext>
            </a:extLst>
          </p:cNvPr>
          <p:cNvSpPr/>
          <p:nvPr/>
        </p:nvSpPr>
        <p:spPr>
          <a:xfrm>
            <a:off x="448072" y="3670500"/>
            <a:ext cx="8065294" cy="2602705"/>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Simplified indicator explanation sheet and advocacy materials </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42234"/>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Tools that can be used</a:t>
            </a:r>
          </a:p>
        </p:txBody>
      </p:sp>
      <p:sp>
        <p:nvSpPr>
          <p:cNvPr id="5" name="Text Placeholder 5">
            <a:extLst>
              <a:ext uri="{FF2B5EF4-FFF2-40B4-BE49-F238E27FC236}">
                <a16:creationId xmlns:a16="http://schemas.microsoft.com/office/drawing/2014/main" id="{89B342CB-53B1-450E-B243-07FE262C705C}"/>
              </a:ext>
            </a:extLst>
          </p:cNvPr>
          <p:cNvSpPr txBox="1">
            <a:spLocks/>
          </p:cNvSpPr>
          <p:nvPr/>
        </p:nvSpPr>
        <p:spPr>
          <a:xfrm>
            <a:off x="448073" y="1820426"/>
            <a:ext cx="8169638" cy="1722820"/>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58255" indent="-258255" defTabSz="672067" fontAlgn="auto">
              <a:spcAft>
                <a:spcPts val="588"/>
              </a:spcAft>
              <a:buFont typeface="Arial" panose="020B0604020202020204" pitchFamily="34" charset="0"/>
              <a:buChar char="•"/>
            </a:pPr>
            <a:r>
              <a:rPr lang="en-US" sz="1568" dirty="0">
                <a:solidFill>
                  <a:srgbClr val="D8D8D8">
                    <a:lumMod val="10000"/>
                  </a:srgbClr>
                </a:solidFill>
              </a:rPr>
              <a:t>Advocacy material to accompany the scorecard can be useful to guide leaders in their reading of the scorecard.</a:t>
            </a:r>
          </a:p>
          <a:p>
            <a:pPr marL="258255" indent="-258255" defTabSz="672067" fontAlgn="auto">
              <a:spcAft>
                <a:spcPts val="588"/>
              </a:spcAft>
              <a:buFont typeface="Arial" panose="020B0604020202020204" pitchFamily="34" charset="0"/>
              <a:buChar char="•"/>
            </a:pPr>
            <a:r>
              <a:rPr lang="en-US" sz="1568" dirty="0">
                <a:solidFill>
                  <a:srgbClr val="D8D8D8">
                    <a:lumMod val="10000"/>
                  </a:srgbClr>
                </a:solidFill>
              </a:rPr>
              <a:t>A ‘cheat sheet’ can be designed to explain technical indicators and how to read the scorecard.</a:t>
            </a:r>
          </a:p>
          <a:p>
            <a:pPr marL="258255" indent="-258255" defTabSz="672067" fontAlgn="auto">
              <a:spcAft>
                <a:spcPts val="588"/>
              </a:spcAft>
              <a:buFont typeface="Arial" panose="020B0604020202020204" pitchFamily="34" charset="0"/>
              <a:buChar char="•"/>
            </a:pPr>
            <a:r>
              <a:rPr lang="en-US" sz="1568" dirty="0">
                <a:solidFill>
                  <a:srgbClr val="D8D8D8">
                    <a:lumMod val="10000"/>
                  </a:srgbClr>
                </a:solidFill>
              </a:rPr>
              <a:t>An executive summary presentation can also be developed to highlight performance issues and bottlenecks.</a:t>
            </a:r>
          </a:p>
        </p:txBody>
      </p:sp>
      <p:pic>
        <p:nvPicPr>
          <p:cNvPr id="4" name="Picture 3">
            <a:extLst>
              <a:ext uri="{FF2B5EF4-FFF2-40B4-BE49-F238E27FC236}">
                <a16:creationId xmlns:a16="http://schemas.microsoft.com/office/drawing/2014/main" id="{4773FFB4-EF99-4BF8-9FE8-0B41645FC8BE}"/>
              </a:ext>
            </a:extLst>
          </p:cNvPr>
          <p:cNvPicPr>
            <a:picLocks noChangeAspect="1"/>
          </p:cNvPicPr>
          <p:nvPr/>
        </p:nvPicPr>
        <p:blipFill>
          <a:blip r:embed="rId3"/>
          <a:stretch>
            <a:fillRect/>
          </a:stretch>
        </p:blipFill>
        <p:spPr>
          <a:xfrm>
            <a:off x="1002236" y="4152194"/>
            <a:ext cx="3030113" cy="1937958"/>
          </a:xfrm>
          <a:prstGeom prst="rect">
            <a:avLst/>
          </a:prstGeom>
          <a:ln w="38100">
            <a:solidFill>
              <a:schemeClr val="bg1"/>
            </a:solidFill>
          </a:ln>
        </p:spPr>
      </p:pic>
      <p:pic>
        <p:nvPicPr>
          <p:cNvPr id="7" name="Picture 6">
            <a:extLst>
              <a:ext uri="{FF2B5EF4-FFF2-40B4-BE49-F238E27FC236}">
                <a16:creationId xmlns:a16="http://schemas.microsoft.com/office/drawing/2014/main" id="{F46C9CD3-B49D-4C36-BCC4-9F8F68E9FFD5}"/>
              </a:ext>
            </a:extLst>
          </p:cNvPr>
          <p:cNvPicPr>
            <a:picLocks noChangeAspect="1"/>
          </p:cNvPicPr>
          <p:nvPr/>
        </p:nvPicPr>
        <p:blipFill>
          <a:blip r:embed="rId4"/>
          <a:stretch>
            <a:fillRect/>
          </a:stretch>
        </p:blipFill>
        <p:spPr>
          <a:xfrm>
            <a:off x="4929091" y="4152194"/>
            <a:ext cx="2889467" cy="1937958"/>
          </a:xfrm>
          <a:prstGeom prst="rect">
            <a:avLst/>
          </a:prstGeom>
          <a:ln w="38100">
            <a:solidFill>
              <a:schemeClr val="bg1"/>
            </a:solidFill>
          </a:ln>
        </p:spPr>
      </p:pic>
      <p:sp>
        <p:nvSpPr>
          <p:cNvPr id="14" name="Text Placeholder 5">
            <a:extLst>
              <a:ext uri="{FF2B5EF4-FFF2-40B4-BE49-F238E27FC236}">
                <a16:creationId xmlns:a16="http://schemas.microsoft.com/office/drawing/2014/main" id="{E313E9B9-3667-4AB1-8DC8-3FF0943581EA}"/>
              </a:ext>
            </a:extLst>
          </p:cNvPr>
          <p:cNvSpPr txBox="1">
            <a:spLocks/>
          </p:cNvSpPr>
          <p:nvPr/>
        </p:nvSpPr>
        <p:spPr>
          <a:xfrm>
            <a:off x="3044435" y="3755564"/>
            <a:ext cx="2878707" cy="244824"/>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72067" fontAlgn="auto">
              <a:spcAft>
                <a:spcPts val="588"/>
              </a:spcAft>
            </a:pPr>
            <a:r>
              <a:rPr lang="en-US" sz="1568" b="1" dirty="0">
                <a:solidFill>
                  <a:srgbClr val="D8D8D8">
                    <a:lumMod val="10000"/>
                  </a:srgbClr>
                </a:solidFill>
              </a:rPr>
              <a:t>Examples of a cheat sheet</a:t>
            </a:r>
          </a:p>
        </p:txBody>
      </p:sp>
    </p:spTree>
    <p:custDataLst>
      <p:tags r:id="rId1"/>
    </p:custDataLst>
    <p:extLst>
      <p:ext uri="{BB962C8B-B14F-4D97-AF65-F5344CB8AC3E}">
        <p14:creationId xmlns:p14="http://schemas.microsoft.com/office/powerpoint/2010/main" val="32368484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85B17C85-56ED-4CDA-BBC0-FD62BF55A551}"/>
              </a:ext>
            </a:extLst>
          </p:cNvPr>
          <p:cNvSpPr txBox="1">
            <a:spLocks/>
          </p:cNvSpPr>
          <p:nvPr/>
        </p:nvSpPr>
        <p:spPr>
          <a:xfrm>
            <a:off x="455710" y="4180023"/>
            <a:ext cx="8048430" cy="1737142"/>
          </a:xfrm>
          <a:prstGeom prst="rect">
            <a:avLst/>
          </a:prstGeom>
        </p:spPr>
        <p:txBody>
          <a:bodyPr vert="horz" wrap="square" lIns="0" tIns="0" rIns="0" bIns="0" rtlCol="0" anchor="ctr">
            <a:spAutoFit/>
          </a:bodyPr>
          <a:lstStyle>
            <a:lvl1pPr algn="l" defTabSz="672067" rtl="0" eaLnBrk="1" latinLnBrk="0" hangingPunct="1">
              <a:lnSpc>
                <a:spcPct val="90000"/>
              </a:lnSpc>
              <a:spcBef>
                <a:spcPct val="0"/>
              </a:spcBef>
              <a:buNone/>
              <a:defRPr sz="264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marL="0" marR="0" lvl="0" indent="0" algn="ctr" defTabSz="672067"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How to share the scorecard with </a:t>
            </a:r>
          </a:p>
          <a:p>
            <a:pPr marL="0" marR="0" lvl="0" indent="0" algn="ctr" defTabSz="672067"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high-level decision makers</a:t>
            </a: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endParaRPr kumimoji="0" lang="en-US"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8" name="Picture 7">
            <a:extLst>
              <a:ext uri="{FF2B5EF4-FFF2-40B4-BE49-F238E27FC236}">
                <a16:creationId xmlns:a16="http://schemas.microsoft.com/office/drawing/2014/main" id="{393BBE19-56A8-4EBD-B210-04B0887D6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234" y="1775996"/>
            <a:ext cx="7352982" cy="1737142"/>
          </a:xfrm>
          <a:prstGeom prst="rect">
            <a:avLst/>
          </a:prstGeom>
        </p:spPr>
      </p:pic>
    </p:spTree>
    <p:extLst>
      <p:ext uri="{BB962C8B-B14F-4D97-AF65-F5344CB8AC3E}">
        <p14:creationId xmlns:p14="http://schemas.microsoft.com/office/powerpoint/2010/main" val="18229648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332399"/>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sz="2400" dirty="0"/>
              <a:t>How can AYAC members be “Scorecard Champions”</a:t>
            </a:r>
            <a:endParaRPr lang="en-GB" sz="2400"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42234"/>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Tools that can be used</a:t>
            </a:r>
          </a:p>
        </p:txBody>
      </p:sp>
      <p:sp>
        <p:nvSpPr>
          <p:cNvPr id="5" name="Text Placeholder 5">
            <a:extLst>
              <a:ext uri="{FF2B5EF4-FFF2-40B4-BE49-F238E27FC236}">
                <a16:creationId xmlns:a16="http://schemas.microsoft.com/office/drawing/2014/main" id="{89B342CB-53B1-450E-B243-07FE262C705C}"/>
              </a:ext>
            </a:extLst>
          </p:cNvPr>
          <p:cNvSpPr txBox="1">
            <a:spLocks/>
          </p:cNvSpPr>
          <p:nvPr/>
        </p:nvSpPr>
        <p:spPr>
          <a:xfrm>
            <a:off x="278139" y="1230035"/>
            <a:ext cx="8065294" cy="540782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59811" indent="-259811" defTabSz="672067" fontAlgn="auto">
              <a:spcAft>
                <a:spcPts val="0"/>
              </a:spcAft>
              <a:buFont typeface="Arial" panose="020B0604020202020204" pitchFamily="34" charset="0"/>
              <a:buChar char="•"/>
            </a:pPr>
            <a:r>
              <a:rPr lang="en-US" sz="1500" b="1" dirty="0">
                <a:solidFill>
                  <a:srgbClr val="6F0710"/>
                </a:solidFill>
              </a:rPr>
              <a:t>Scorecard and knowledge dissemination</a:t>
            </a:r>
            <a:endParaRPr lang="en-US" sz="1500" dirty="0">
              <a:solidFill>
                <a:srgbClr val="D8D8D8">
                  <a:lumMod val="10000"/>
                </a:srgbClr>
              </a:solidFill>
            </a:endParaRPr>
          </a:p>
          <a:p>
            <a:pPr marL="595845" lvl="2" indent="-259811" defTabSz="672067" fontAlgn="auto">
              <a:spcAft>
                <a:spcPts val="588"/>
              </a:spcAft>
            </a:pPr>
            <a:r>
              <a:rPr lang="en-US" sz="1500" dirty="0">
                <a:solidFill>
                  <a:srgbClr val="D8D8D8">
                    <a:lumMod val="10000"/>
                  </a:srgbClr>
                </a:solidFill>
              </a:rPr>
              <a:t>Print the scorecard every quarter and send copies to leaders’ offices with a letter of the priorities and potential actions for the quarter.</a:t>
            </a:r>
          </a:p>
          <a:p>
            <a:pPr marL="595845" lvl="2" indent="-259811" defTabSz="672067" fontAlgn="auto">
              <a:spcAft>
                <a:spcPts val="588"/>
              </a:spcAft>
            </a:pPr>
            <a:r>
              <a:rPr lang="en-US" sz="1500" dirty="0">
                <a:solidFill>
                  <a:srgbClr val="D8D8D8">
                    <a:lumMod val="10000"/>
                  </a:srgbClr>
                </a:solidFill>
              </a:rPr>
              <a:t>Send a PDF of the scorecard via email to leaders and media.</a:t>
            </a:r>
          </a:p>
          <a:p>
            <a:pPr marL="595845" lvl="2" indent="-259811" defTabSz="672067" fontAlgn="auto">
              <a:spcAft>
                <a:spcPts val="588"/>
              </a:spcAft>
            </a:pPr>
            <a:r>
              <a:rPr lang="en-US" sz="1500" dirty="0">
                <a:solidFill>
                  <a:srgbClr val="D8D8D8">
                    <a:lumMod val="10000"/>
                  </a:srgbClr>
                </a:solidFill>
              </a:rPr>
              <a:t>Create a WhatsApp group with youth groups and key stakeholders and disseminate the scorecard.</a:t>
            </a:r>
          </a:p>
          <a:p>
            <a:pPr marL="595845" lvl="2" indent="-259811" defTabSz="672067" fontAlgn="auto">
              <a:spcAft>
                <a:spcPts val="588"/>
              </a:spcAft>
            </a:pPr>
            <a:r>
              <a:rPr lang="en-US" sz="1500" dirty="0">
                <a:solidFill>
                  <a:srgbClr val="D8D8D8">
                    <a:lumMod val="10000"/>
                  </a:srgbClr>
                </a:solidFill>
              </a:rPr>
              <a:t>Train other youth on how to use the scorecard via the scorecard hub.</a:t>
            </a:r>
          </a:p>
          <a:p>
            <a:pPr marL="595845" lvl="2" indent="-259811" defTabSz="672067" fontAlgn="auto">
              <a:spcAft>
                <a:spcPts val="588"/>
              </a:spcAft>
            </a:pPr>
            <a:r>
              <a:rPr lang="en-US" sz="1500" dirty="0">
                <a:solidFill>
                  <a:srgbClr val="D8D8D8">
                    <a:lumMod val="10000"/>
                  </a:srgbClr>
                </a:solidFill>
              </a:rPr>
              <a:t>Use scorecard in local ZMSWM initiatives.</a:t>
            </a:r>
          </a:p>
          <a:p>
            <a:pPr marL="259811" indent="-259811" defTabSz="672067" fontAlgn="auto">
              <a:spcBef>
                <a:spcPts val="1176"/>
              </a:spcBef>
              <a:spcAft>
                <a:spcPts val="0"/>
              </a:spcAft>
              <a:buFont typeface="Arial" panose="020B0604020202020204" pitchFamily="34" charset="0"/>
              <a:buChar char="•"/>
            </a:pPr>
            <a:r>
              <a:rPr lang="en-US" sz="1500" b="1" dirty="0">
                <a:solidFill>
                  <a:srgbClr val="6F0710"/>
                </a:solidFill>
              </a:rPr>
              <a:t>Action and accountability</a:t>
            </a:r>
            <a:endParaRPr lang="en-US" sz="1500" dirty="0">
              <a:solidFill>
                <a:srgbClr val="D8D8D8">
                  <a:lumMod val="10000"/>
                </a:srgbClr>
              </a:solidFill>
            </a:endParaRPr>
          </a:p>
          <a:p>
            <a:pPr marL="595845" lvl="2" indent="-259811" defTabSz="672067" fontAlgn="auto">
              <a:spcAft>
                <a:spcPts val="588"/>
              </a:spcAft>
            </a:pPr>
            <a:r>
              <a:rPr lang="en-US" sz="1500" dirty="0">
                <a:solidFill>
                  <a:srgbClr val="D8D8D8">
                    <a:lumMod val="10000"/>
                  </a:srgbClr>
                </a:solidFill>
              </a:rPr>
              <a:t>Present the scorecard analysis and proposed actions during community meetings and in meetings with youth. (ALMA scorecard or country scorecard)</a:t>
            </a:r>
          </a:p>
          <a:p>
            <a:pPr marL="595845" lvl="2" indent="-259811" defTabSz="672067" fontAlgn="auto">
              <a:spcAft>
                <a:spcPts val="588"/>
              </a:spcAft>
            </a:pPr>
            <a:r>
              <a:rPr lang="en-US" sz="1500" dirty="0">
                <a:solidFill>
                  <a:srgbClr val="D8D8D8">
                    <a:lumMod val="10000"/>
                  </a:srgbClr>
                </a:solidFill>
              </a:rPr>
              <a:t>Share with leaders the actions and the budget required to implement the action so they can </a:t>
            </a:r>
            <a:r>
              <a:rPr lang="en-US" sz="1500" dirty="0" err="1">
                <a:solidFill>
                  <a:srgbClr val="D8D8D8">
                    <a:lumMod val="10000"/>
                  </a:srgbClr>
                </a:solidFill>
              </a:rPr>
              <a:t>mobilise</a:t>
            </a:r>
            <a:r>
              <a:rPr lang="en-US" sz="1500" dirty="0">
                <a:solidFill>
                  <a:srgbClr val="D8D8D8">
                    <a:lumMod val="10000"/>
                  </a:srgbClr>
                </a:solidFill>
              </a:rPr>
              <a:t> support.</a:t>
            </a:r>
          </a:p>
          <a:p>
            <a:pPr marL="595845" lvl="2" indent="-259811" defTabSz="672067" fontAlgn="auto">
              <a:spcAft>
                <a:spcPts val="588"/>
              </a:spcAft>
            </a:pPr>
            <a:r>
              <a:rPr lang="en-US" sz="1500" dirty="0">
                <a:solidFill>
                  <a:srgbClr val="D8D8D8">
                    <a:lumMod val="10000"/>
                  </a:srgbClr>
                </a:solidFill>
              </a:rPr>
              <a:t>Encourage leaders to monitor the implementation of life-saving actions through scorecards.</a:t>
            </a:r>
          </a:p>
          <a:p>
            <a:pPr marL="595845" lvl="2" indent="-259811" defTabSz="672067" fontAlgn="auto">
              <a:spcAft>
                <a:spcPts val="588"/>
              </a:spcAft>
            </a:pPr>
            <a:r>
              <a:rPr lang="en-US" sz="1500" dirty="0">
                <a:solidFill>
                  <a:srgbClr val="D8D8D8">
                    <a:lumMod val="10000"/>
                  </a:srgbClr>
                </a:solidFill>
              </a:rPr>
              <a:t>Work with community to promote prevention and treatment seeking </a:t>
            </a:r>
            <a:r>
              <a:rPr lang="en-US" sz="1500" dirty="0" err="1">
                <a:solidFill>
                  <a:srgbClr val="D8D8D8">
                    <a:lumMod val="10000"/>
                  </a:srgbClr>
                </a:solidFill>
              </a:rPr>
              <a:t>behaviours</a:t>
            </a:r>
            <a:r>
              <a:rPr lang="en-US" sz="1500" dirty="0">
                <a:solidFill>
                  <a:srgbClr val="D8D8D8">
                    <a:lumMod val="10000"/>
                  </a:srgbClr>
                </a:solidFill>
              </a:rPr>
              <a:t> (example: cooperate with the IRS campaign).</a:t>
            </a:r>
          </a:p>
          <a:p>
            <a:pPr marL="259811" indent="-259811" defTabSz="672067" fontAlgn="auto">
              <a:spcAft>
                <a:spcPts val="588"/>
              </a:spcAft>
            </a:pPr>
            <a:endParaRPr lang="en-US" sz="1568" dirty="0">
              <a:solidFill>
                <a:srgbClr val="D8D8D8">
                  <a:lumMod val="10000"/>
                </a:srgbClr>
              </a:solidFill>
            </a:endParaRPr>
          </a:p>
        </p:txBody>
      </p:sp>
    </p:spTree>
    <p:custDataLst>
      <p:tags r:id="rId1"/>
    </p:custDataLst>
    <p:extLst>
      <p:ext uri="{BB962C8B-B14F-4D97-AF65-F5344CB8AC3E}">
        <p14:creationId xmlns:p14="http://schemas.microsoft.com/office/powerpoint/2010/main" val="103016449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0F9E753-C322-4589-B744-096CB4351498}"/>
              </a:ext>
            </a:extLst>
          </p:cNvPr>
          <p:cNvPicPr>
            <a:picLocks noChangeAspect="1"/>
          </p:cNvPicPr>
          <p:nvPr/>
        </p:nvPicPr>
        <p:blipFill>
          <a:blip r:embed="rId2"/>
          <a:stretch>
            <a:fillRect/>
          </a:stretch>
        </p:blipFill>
        <p:spPr>
          <a:xfrm>
            <a:off x="0" y="1780248"/>
            <a:ext cx="8961438" cy="4155753"/>
          </a:xfrm>
          <a:prstGeom prst="rect">
            <a:avLst/>
          </a:prstGeom>
        </p:spPr>
      </p:pic>
      <p:sp>
        <p:nvSpPr>
          <p:cNvPr id="12" name="Flowchart: Connector 11">
            <a:extLst>
              <a:ext uri="{FF2B5EF4-FFF2-40B4-BE49-F238E27FC236}">
                <a16:creationId xmlns:a16="http://schemas.microsoft.com/office/drawing/2014/main" id="{46E4E9A8-4236-41EB-9C31-597E2D9119D6}"/>
              </a:ext>
            </a:extLst>
          </p:cNvPr>
          <p:cNvSpPr/>
          <p:nvPr/>
        </p:nvSpPr>
        <p:spPr>
          <a:xfrm>
            <a:off x="7720671" y="4336760"/>
            <a:ext cx="604942" cy="272395"/>
          </a:xfrm>
          <a:prstGeom prst="flowChartConnector">
            <a:avLst/>
          </a:prstGeom>
          <a:noFill/>
          <a:ln w="6350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76"/>
          </a:p>
        </p:txBody>
      </p:sp>
      <p:sp>
        <p:nvSpPr>
          <p:cNvPr id="9" name="Flowchart: Connector 8">
            <a:extLst>
              <a:ext uri="{FF2B5EF4-FFF2-40B4-BE49-F238E27FC236}">
                <a16:creationId xmlns:a16="http://schemas.microsoft.com/office/drawing/2014/main" id="{5D92348D-691B-413B-82A5-47CAF7252A79}"/>
              </a:ext>
            </a:extLst>
          </p:cNvPr>
          <p:cNvSpPr/>
          <p:nvPr/>
        </p:nvSpPr>
        <p:spPr>
          <a:xfrm>
            <a:off x="1569376" y="4336759"/>
            <a:ext cx="604942" cy="272395"/>
          </a:xfrm>
          <a:prstGeom prst="flowChartConnector">
            <a:avLst/>
          </a:prstGeom>
          <a:noFill/>
          <a:ln w="6350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76"/>
          </a:p>
        </p:txBody>
      </p:sp>
      <p:sp>
        <p:nvSpPr>
          <p:cNvPr id="10" name="Flowchart: Connector 9">
            <a:extLst>
              <a:ext uri="{FF2B5EF4-FFF2-40B4-BE49-F238E27FC236}">
                <a16:creationId xmlns:a16="http://schemas.microsoft.com/office/drawing/2014/main" id="{5936C1C5-DF44-417D-9189-B6AE8977BCF9}"/>
              </a:ext>
            </a:extLst>
          </p:cNvPr>
          <p:cNvSpPr/>
          <p:nvPr/>
        </p:nvSpPr>
        <p:spPr>
          <a:xfrm>
            <a:off x="5270316" y="4336758"/>
            <a:ext cx="604942" cy="272395"/>
          </a:xfrm>
          <a:prstGeom prst="flowChartConnector">
            <a:avLst/>
          </a:prstGeom>
          <a:noFill/>
          <a:ln w="63500" cmpd="sng">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76"/>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90344" y="247565"/>
            <a:ext cx="6628083" cy="392110"/>
          </a:xfrm>
          <a:prstGeom prst="rect">
            <a:avLst/>
          </a:prstGeom>
        </p:spPr>
        <p:txBody>
          <a:bodyPr vert="horz" wrap="square" lIns="89614" tIns="44807" rIns="89614" bIns="44807" rtlCol="0">
            <a:spAutoFit/>
          </a:bodyPr>
          <a:lstStyle/>
          <a:p>
            <a:r>
              <a:rPr lang="en-US" sz="1960" b="1" dirty="0"/>
              <a:t>EXAMPLE: Scorecard action matrix</a:t>
            </a:r>
          </a:p>
        </p:txBody>
      </p:sp>
      <p:sp>
        <p:nvSpPr>
          <p:cNvPr id="3" name="TextBox 2"/>
          <p:cNvSpPr txBox="1"/>
          <p:nvPr/>
        </p:nvSpPr>
        <p:spPr>
          <a:xfrm>
            <a:off x="490344" y="639675"/>
            <a:ext cx="8149835" cy="1001508"/>
          </a:xfrm>
          <a:prstGeom prst="rect">
            <a:avLst/>
          </a:prstGeom>
        </p:spPr>
        <p:txBody>
          <a:bodyPr vert="horz" wrap="square" lIns="89614" tIns="44807" rIns="89614" bIns="44807" rtlCol="0">
            <a:spAutoFit/>
          </a:bodyPr>
          <a:lstStyle/>
          <a:p>
            <a:pPr marL="448056" indent="-448056">
              <a:buAutoNum type="arabicPeriod"/>
            </a:pPr>
            <a:r>
              <a:rPr lang="en-US" sz="1960" dirty="0"/>
              <a:t>Identify three priorities on the scorecard.</a:t>
            </a:r>
          </a:p>
          <a:p>
            <a:pPr marL="448056" indent="-448056">
              <a:buAutoNum type="arabicPeriod"/>
            </a:pPr>
            <a:r>
              <a:rPr lang="en-US" sz="1960" dirty="0"/>
              <a:t>Write potential root causes</a:t>
            </a:r>
          </a:p>
          <a:p>
            <a:pPr marL="448056" indent="-448056">
              <a:buAutoNum type="arabicPeriod"/>
            </a:pPr>
            <a:r>
              <a:rPr lang="en-US" sz="2000" dirty="0"/>
              <a:t>Create a SMART action to address the root cause(s) of the issue</a:t>
            </a:r>
            <a:endParaRPr lang="en-US" sz="1960" dirty="0"/>
          </a:p>
        </p:txBody>
      </p:sp>
      <p:graphicFrame>
        <p:nvGraphicFramePr>
          <p:cNvPr id="4" name="Table 3">
            <a:extLst>
              <a:ext uri="{FF2B5EF4-FFF2-40B4-BE49-F238E27FC236}">
                <a16:creationId xmlns:a16="http://schemas.microsoft.com/office/drawing/2014/main" id="{4D339FCE-8C29-421C-9EA2-98DC3939EF75}"/>
              </a:ext>
            </a:extLst>
          </p:cNvPr>
          <p:cNvGraphicFramePr>
            <a:graphicFrameLocks noGrp="1"/>
          </p:cNvGraphicFramePr>
          <p:nvPr>
            <p:extLst>
              <p:ext uri="{D42A27DB-BD31-4B8C-83A1-F6EECF244321}">
                <p14:modId xmlns:p14="http://schemas.microsoft.com/office/powerpoint/2010/main" val="2108135511"/>
              </p:ext>
            </p:extLst>
          </p:nvPr>
        </p:nvGraphicFramePr>
        <p:xfrm>
          <a:off x="0" y="2117411"/>
          <a:ext cx="8961438" cy="4861642"/>
        </p:xfrm>
        <a:graphic>
          <a:graphicData uri="http://schemas.openxmlformats.org/drawingml/2006/table">
            <a:tbl>
              <a:tblPr firstRow="1" bandRow="1">
                <a:tableStyleId>{5C22544A-7EE6-4342-B048-85BDC9FD1C3A}</a:tableStyleId>
              </a:tblPr>
              <a:tblGrid>
                <a:gridCol w="2253069">
                  <a:extLst>
                    <a:ext uri="{9D8B030D-6E8A-4147-A177-3AD203B41FA5}">
                      <a16:colId xmlns:a16="http://schemas.microsoft.com/office/drawing/2014/main" val="685447528"/>
                    </a:ext>
                  </a:extLst>
                </a:gridCol>
                <a:gridCol w="3721223">
                  <a:extLst>
                    <a:ext uri="{9D8B030D-6E8A-4147-A177-3AD203B41FA5}">
                      <a16:colId xmlns:a16="http://schemas.microsoft.com/office/drawing/2014/main" val="3910598953"/>
                    </a:ext>
                  </a:extLst>
                </a:gridCol>
                <a:gridCol w="2987146">
                  <a:extLst>
                    <a:ext uri="{9D8B030D-6E8A-4147-A177-3AD203B41FA5}">
                      <a16:colId xmlns:a16="http://schemas.microsoft.com/office/drawing/2014/main" val="2164858265"/>
                    </a:ext>
                  </a:extLst>
                </a:gridCol>
              </a:tblGrid>
              <a:tr h="496772">
                <a:tc>
                  <a:txBody>
                    <a:bodyPr/>
                    <a:lstStyle/>
                    <a:p>
                      <a:r>
                        <a:rPr lang="en-US" dirty="0">
                          <a:solidFill>
                            <a:schemeClr val="tx1"/>
                          </a:solidFill>
                        </a:rPr>
                        <a:t>Priority Issue</a:t>
                      </a:r>
                    </a:p>
                  </a:txBody>
                  <a:tcPr/>
                </a:tc>
                <a:tc>
                  <a:txBody>
                    <a:bodyPr/>
                    <a:lstStyle/>
                    <a:p>
                      <a:r>
                        <a:rPr lang="en-US" dirty="0">
                          <a:solidFill>
                            <a:schemeClr val="tx1"/>
                          </a:solidFill>
                        </a:rPr>
                        <a:t>Potential Causes</a:t>
                      </a:r>
                    </a:p>
                  </a:txBody>
                  <a:tcPr/>
                </a:tc>
                <a:tc>
                  <a:txBody>
                    <a:bodyPr/>
                    <a:lstStyle/>
                    <a:p>
                      <a:r>
                        <a:rPr lang="en-US" dirty="0">
                          <a:solidFill>
                            <a:schemeClr val="tx1"/>
                          </a:solidFill>
                        </a:rPr>
                        <a:t>Action</a:t>
                      </a:r>
                    </a:p>
                  </a:txBody>
                  <a:tcPr/>
                </a:tc>
                <a:extLst>
                  <a:ext uri="{0D108BD9-81ED-4DB2-BD59-A6C34878D82A}">
                    <a16:rowId xmlns:a16="http://schemas.microsoft.com/office/drawing/2014/main" val="355453477"/>
                  </a:ext>
                </a:extLst>
              </a:tr>
              <a:tr h="795189">
                <a:tc>
                  <a:txBody>
                    <a:bodyPr/>
                    <a:lstStyle/>
                    <a:p>
                      <a:r>
                        <a:rPr lang="en-US" dirty="0" err="1">
                          <a:solidFill>
                            <a:schemeClr val="tx1"/>
                          </a:solidFill>
                        </a:rPr>
                        <a:t>Borno</a:t>
                      </a:r>
                      <a:r>
                        <a:rPr lang="en-US" dirty="0">
                          <a:solidFill>
                            <a:schemeClr val="tx1"/>
                          </a:solidFill>
                        </a:rPr>
                        <a:t> reported 25,709 maternal deaths</a:t>
                      </a:r>
                    </a:p>
                  </a:txBody>
                  <a:tcPr/>
                </a:tc>
                <a:tc>
                  <a:txBody>
                    <a:bodyPr/>
                    <a:lstStyle/>
                    <a:p>
                      <a:pPr marL="0" indent="0">
                        <a:buFont typeface="Arial" panose="020B0604020202020204" pitchFamily="34" charset="0"/>
                        <a:buNone/>
                      </a:pPr>
                      <a:r>
                        <a:rPr lang="en-US" baseline="0" dirty="0">
                          <a:solidFill>
                            <a:schemeClr val="tx1"/>
                          </a:solidFill>
                        </a:rPr>
                        <a:t>Data quality issue</a:t>
                      </a:r>
                    </a:p>
                    <a:p>
                      <a:pPr marL="285750" indent="-285750">
                        <a:buFont typeface="Arial" panose="020B0604020202020204" pitchFamily="34" charset="0"/>
                        <a:buChar char="•"/>
                      </a:pPr>
                      <a:endParaRPr lang="en-US" baseline="0" dirty="0">
                        <a:solidFill>
                          <a:schemeClr val="tx1"/>
                        </a:solidFill>
                      </a:endParaRPr>
                    </a:p>
                    <a:p>
                      <a:pPr marL="285750" indent="-285750">
                        <a:buFont typeface="Arial" panose="020B0604020202020204" pitchFamily="34" charset="0"/>
                        <a:buChar char="•"/>
                      </a:pPr>
                      <a:endParaRPr lang="en-US" dirty="0">
                        <a:solidFill>
                          <a:schemeClr val="tx1"/>
                        </a:solidFill>
                      </a:endParaRPr>
                    </a:p>
                  </a:txBody>
                  <a:tcPr/>
                </a:tc>
                <a:tc>
                  <a:txBody>
                    <a:bodyPr/>
                    <a:lstStyle/>
                    <a:p>
                      <a:pPr marL="0" indent="0">
                        <a:buFont typeface="Arial" panose="020B0604020202020204" pitchFamily="34" charset="0"/>
                        <a:buNone/>
                      </a:pPr>
                      <a:r>
                        <a:rPr lang="en-US" dirty="0">
                          <a:solidFill>
                            <a:schemeClr val="tx1"/>
                          </a:solidFill>
                        </a:rPr>
                        <a:t>Call the data information officer for </a:t>
                      </a:r>
                      <a:r>
                        <a:rPr lang="en-US" dirty="0" err="1">
                          <a:solidFill>
                            <a:schemeClr val="tx1"/>
                          </a:solidFill>
                        </a:rPr>
                        <a:t>Gwoza</a:t>
                      </a:r>
                      <a:r>
                        <a:rPr lang="en-US" dirty="0">
                          <a:solidFill>
                            <a:schemeClr val="tx1"/>
                          </a:solidFill>
                        </a:rPr>
                        <a:t> LGA who reported 2,343,750 Maternal deaths so they can correct the value in DHIS2</a:t>
                      </a:r>
                    </a:p>
                  </a:txBody>
                  <a:tcPr/>
                </a:tc>
                <a:extLst>
                  <a:ext uri="{0D108BD9-81ED-4DB2-BD59-A6C34878D82A}">
                    <a16:rowId xmlns:a16="http://schemas.microsoft.com/office/drawing/2014/main" val="1678723874"/>
                  </a:ext>
                </a:extLst>
              </a:tr>
              <a:tr h="1181814">
                <a:tc>
                  <a:txBody>
                    <a:bodyPr/>
                    <a:lstStyle/>
                    <a:p>
                      <a:r>
                        <a:rPr lang="en-US" dirty="0">
                          <a:solidFill>
                            <a:schemeClr val="tx1"/>
                          </a:solidFill>
                        </a:rPr>
                        <a:t>Low LLIN coverage for children under 5 in Kebbi, Lagos, and Bayelsa</a:t>
                      </a:r>
                    </a:p>
                  </a:txBody>
                  <a:tcPr/>
                </a:tc>
                <a:tc>
                  <a:txBody>
                    <a:bodyPr/>
                    <a:lstStyle/>
                    <a:p>
                      <a:pPr marL="285750" indent="-285750">
                        <a:buFont typeface="Arial" panose="020B0604020202020204" pitchFamily="34" charset="0"/>
                        <a:buChar char="•"/>
                      </a:pPr>
                      <a:r>
                        <a:rPr lang="en-US" dirty="0">
                          <a:solidFill>
                            <a:schemeClr val="tx1"/>
                          </a:solidFill>
                        </a:rPr>
                        <a:t>Stock outs of LLIN</a:t>
                      </a:r>
                    </a:p>
                    <a:p>
                      <a:pPr marL="285750" indent="-285750">
                        <a:buFont typeface="Arial" panose="020B0604020202020204" pitchFamily="34" charset="0"/>
                        <a:buChar char="•"/>
                      </a:pPr>
                      <a:r>
                        <a:rPr lang="en-US" dirty="0">
                          <a:solidFill>
                            <a:schemeClr val="tx1"/>
                          </a:solidFill>
                        </a:rPr>
                        <a:t>Data quality issue</a:t>
                      </a:r>
                    </a:p>
                    <a:p>
                      <a:pPr marL="0" indent="0">
                        <a:buFont typeface="Arial" panose="020B0604020202020204" pitchFamily="34" charset="0"/>
                        <a:buNone/>
                      </a:pPr>
                      <a:endParaRPr lang="en-US" dirty="0">
                        <a:solidFill>
                          <a:schemeClr val="tx1"/>
                        </a:solidFill>
                      </a:endParaRPr>
                    </a:p>
                  </a:txBody>
                  <a:tcPr/>
                </a:tc>
                <a:tc>
                  <a:txBody>
                    <a:bodyPr/>
                    <a:lstStyle/>
                    <a:p>
                      <a:pPr marL="0" indent="0">
                        <a:buFont typeface="Arial" panose="020B0604020202020204" pitchFamily="34" charset="0"/>
                        <a:buNone/>
                      </a:pPr>
                      <a:r>
                        <a:rPr lang="en-US" dirty="0">
                          <a:solidFill>
                            <a:schemeClr val="tx1"/>
                          </a:solidFill>
                        </a:rPr>
                        <a:t>Work with PMI to </a:t>
                      </a:r>
                      <a:r>
                        <a:rPr lang="en-US" dirty="0" err="1">
                          <a:solidFill>
                            <a:schemeClr val="tx1"/>
                          </a:solidFill>
                        </a:rPr>
                        <a:t>mobilise</a:t>
                      </a:r>
                      <a:r>
                        <a:rPr lang="en-US" dirty="0">
                          <a:solidFill>
                            <a:schemeClr val="tx1"/>
                          </a:solidFill>
                        </a:rPr>
                        <a:t> 20000 LLINS in Kebbi and 40000 LLINs in Lagos</a:t>
                      </a:r>
                    </a:p>
                  </a:txBody>
                  <a:tcPr/>
                </a:tc>
                <a:extLst>
                  <a:ext uri="{0D108BD9-81ED-4DB2-BD59-A6C34878D82A}">
                    <a16:rowId xmlns:a16="http://schemas.microsoft.com/office/drawing/2014/main" val="3407598825"/>
                  </a:ext>
                </a:extLst>
              </a:tr>
              <a:tr h="1438790">
                <a:tc>
                  <a:txBody>
                    <a:bodyPr/>
                    <a:lstStyle/>
                    <a:p>
                      <a:endParaRPr lang="en-US" dirty="0">
                        <a:solidFill>
                          <a:schemeClr val="tx1"/>
                        </a:solidFill>
                      </a:endParaRPr>
                    </a:p>
                  </a:txBody>
                  <a:tcPr/>
                </a:tc>
                <a:tc>
                  <a:txBody>
                    <a:bodyPr/>
                    <a:lstStyle/>
                    <a:p>
                      <a:pPr marL="285750" indent="-285750">
                        <a:buFont typeface="Arial" panose="020B0604020202020204" pitchFamily="34" charset="0"/>
                        <a:buChar char="•"/>
                      </a:pPr>
                      <a:endParaRPr lang="en-US" dirty="0">
                        <a:solidFill>
                          <a:schemeClr val="tx1"/>
                        </a:solidFill>
                      </a:endParaRPr>
                    </a:p>
                  </a:txBody>
                  <a:tcPr/>
                </a:tc>
                <a:tc>
                  <a:txBody>
                    <a:bodyPr/>
                    <a:lstStyle/>
                    <a:p>
                      <a:pPr marL="0" indent="0">
                        <a:buFont typeface="Arial" panose="020B0604020202020204" pitchFamily="34" charset="0"/>
                        <a:buNone/>
                      </a:pPr>
                      <a:endParaRPr lang="en-US" dirty="0">
                        <a:solidFill>
                          <a:schemeClr val="tx1"/>
                        </a:solidFill>
                      </a:endParaRPr>
                    </a:p>
                  </a:txBody>
                  <a:tcPr/>
                </a:tc>
                <a:extLst>
                  <a:ext uri="{0D108BD9-81ED-4DB2-BD59-A6C34878D82A}">
                    <a16:rowId xmlns:a16="http://schemas.microsoft.com/office/drawing/2014/main" val="956948944"/>
                  </a:ext>
                </a:extLst>
              </a:tr>
            </a:tbl>
          </a:graphicData>
        </a:graphic>
      </p:graphicFrame>
    </p:spTree>
    <p:extLst>
      <p:ext uri="{BB962C8B-B14F-4D97-AF65-F5344CB8AC3E}">
        <p14:creationId xmlns:p14="http://schemas.microsoft.com/office/powerpoint/2010/main" val="9500437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325763"/>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Supporting countries with guides and toolkit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Guides and toolkits</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2B697F64-A873-B64F-8F79-CD36E601FD53}"/>
              </a:ext>
            </a:extLst>
          </p:cNvPr>
          <p:cNvSpPr txBox="1">
            <a:spLocks/>
          </p:cNvSpPr>
          <p:nvPr/>
        </p:nvSpPr>
        <p:spPr>
          <a:xfrm>
            <a:off x="461524" y="1820629"/>
            <a:ext cx="4006487" cy="429825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Guides and toolkits </a:t>
            </a:r>
            <a:r>
              <a:rPr lang="en-US" sz="1470" dirty="0">
                <a:solidFill>
                  <a:srgbClr val="D8D8D8">
                    <a:lumMod val="10000"/>
                  </a:srgbClr>
                </a:solidFill>
              </a:rPr>
              <a:t>help countries create, </a:t>
            </a:r>
            <a:r>
              <a:rPr lang="en-US" sz="1470" dirty="0" err="1">
                <a:solidFill>
                  <a:srgbClr val="D8D8D8">
                    <a:lumMod val="10000"/>
                  </a:srgbClr>
                </a:solidFill>
              </a:rPr>
              <a:t>analyse</a:t>
            </a:r>
            <a:r>
              <a:rPr lang="en-US" sz="1470" dirty="0">
                <a:solidFill>
                  <a:srgbClr val="D8D8D8">
                    <a:lumMod val="10000"/>
                  </a:srgbClr>
                </a:solidFill>
              </a:rPr>
              <a:t> and improve scorecard tools</a:t>
            </a:r>
          </a:p>
          <a:p>
            <a:pPr marL="280035" indent="-280035" defTabSz="672067" fontAlgn="auto">
              <a:lnSpc>
                <a:spcPct val="100000"/>
              </a:lnSpc>
              <a:spcBef>
                <a:spcPts val="196"/>
              </a:spcBef>
              <a:spcAft>
                <a:spcPts val="392"/>
              </a:spcAft>
              <a:buFont typeface="Arial" panose="020B0604020202020204" pitchFamily="34" charset="0"/>
              <a:buChar char="•"/>
            </a:pPr>
            <a:r>
              <a:rPr lang="en-US" sz="1470" dirty="0">
                <a:solidFill>
                  <a:srgbClr val="D8D8D8">
                    <a:lumMod val="10000"/>
                  </a:srgbClr>
                </a:solidFill>
              </a:rPr>
              <a:t>Currently have guides about:</a:t>
            </a:r>
          </a:p>
          <a:p>
            <a:pPr marL="616069" lvl="2" indent="-280035" defTabSz="672067" fontAlgn="auto">
              <a:lnSpc>
                <a:spcPct val="100000"/>
              </a:lnSpc>
              <a:spcBef>
                <a:spcPts val="196"/>
              </a:spcBef>
              <a:spcAft>
                <a:spcPts val="392"/>
              </a:spcAft>
            </a:pPr>
            <a:r>
              <a:rPr lang="en-US" sz="1470" dirty="0">
                <a:solidFill>
                  <a:srgbClr val="D8D8D8">
                    <a:lumMod val="10000"/>
                  </a:srgbClr>
                </a:solidFill>
              </a:rPr>
              <a:t>Introduction to country-level scorecards</a:t>
            </a:r>
          </a:p>
          <a:p>
            <a:pPr marL="616069" lvl="2" indent="-280035" defTabSz="672067" fontAlgn="auto">
              <a:lnSpc>
                <a:spcPct val="100000"/>
              </a:lnSpc>
              <a:spcBef>
                <a:spcPts val="196"/>
              </a:spcBef>
              <a:spcAft>
                <a:spcPts val="392"/>
              </a:spcAft>
            </a:pPr>
            <a:r>
              <a:rPr lang="en-US" sz="1470" dirty="0">
                <a:solidFill>
                  <a:srgbClr val="D8D8D8">
                    <a:lumMod val="10000"/>
                  </a:srgbClr>
                </a:solidFill>
              </a:rPr>
              <a:t>Create a new country-level scorecard</a:t>
            </a:r>
          </a:p>
          <a:p>
            <a:pPr marL="616069" lvl="2" indent="-280035" defTabSz="672067" fontAlgn="auto">
              <a:lnSpc>
                <a:spcPct val="100000"/>
              </a:lnSpc>
              <a:spcBef>
                <a:spcPts val="196"/>
              </a:spcBef>
              <a:spcAft>
                <a:spcPts val="392"/>
              </a:spcAft>
            </a:pPr>
            <a:r>
              <a:rPr lang="en-US" sz="1470" dirty="0">
                <a:solidFill>
                  <a:srgbClr val="D8D8D8">
                    <a:lumMod val="10000"/>
                  </a:srgbClr>
                </a:solidFill>
              </a:rPr>
              <a:t>Introduction to community scorecards</a:t>
            </a:r>
          </a:p>
          <a:p>
            <a:pPr marL="616069" lvl="2" indent="-280035" defTabSz="672067" fontAlgn="auto">
              <a:lnSpc>
                <a:spcPct val="100000"/>
              </a:lnSpc>
              <a:spcBef>
                <a:spcPts val="196"/>
              </a:spcBef>
              <a:spcAft>
                <a:spcPts val="392"/>
              </a:spcAft>
            </a:pPr>
            <a:r>
              <a:rPr lang="en-US" sz="1470" dirty="0">
                <a:solidFill>
                  <a:srgbClr val="D8D8D8">
                    <a:lumMod val="10000"/>
                  </a:srgbClr>
                </a:solidFill>
              </a:rPr>
              <a:t>Create a new community scorecard</a:t>
            </a:r>
          </a:p>
          <a:p>
            <a:pPr marL="280035" indent="-280035" defTabSz="672067" fontAlgn="auto">
              <a:lnSpc>
                <a:spcPct val="100000"/>
              </a:lnSpc>
              <a:spcBef>
                <a:spcPts val="588"/>
              </a:spcBef>
              <a:spcAft>
                <a:spcPts val="196"/>
              </a:spcAft>
              <a:buFont typeface="Arial" panose="020B0604020202020204" pitchFamily="34" charset="0"/>
              <a:buChar char="•"/>
            </a:pPr>
            <a:r>
              <a:rPr lang="en-US" sz="1470" dirty="0">
                <a:solidFill>
                  <a:srgbClr val="D8D8D8">
                    <a:lumMod val="10000"/>
                  </a:srgbClr>
                </a:solidFill>
              </a:rPr>
              <a:t>We are working on new guides to help countries complete common scorecard tasks such as</a:t>
            </a:r>
          </a:p>
          <a:p>
            <a:pPr marL="616069" lvl="2" indent="-280035" defTabSz="672067" fontAlgn="auto">
              <a:lnSpc>
                <a:spcPct val="100000"/>
              </a:lnSpc>
              <a:spcBef>
                <a:spcPts val="588"/>
              </a:spcBef>
              <a:spcAft>
                <a:spcPts val="196"/>
              </a:spcAft>
            </a:pPr>
            <a:r>
              <a:rPr lang="en-US" sz="1470" dirty="0">
                <a:solidFill>
                  <a:srgbClr val="D8D8D8">
                    <a:lumMod val="10000"/>
                  </a:srgbClr>
                </a:solidFill>
              </a:rPr>
              <a:t>How to review a scorecard</a:t>
            </a:r>
          </a:p>
          <a:p>
            <a:pPr marL="616069" lvl="2" indent="-280035" defTabSz="672067" fontAlgn="auto">
              <a:lnSpc>
                <a:spcPct val="100000"/>
              </a:lnSpc>
              <a:spcBef>
                <a:spcPts val="588"/>
              </a:spcBef>
              <a:spcAft>
                <a:spcPts val="196"/>
              </a:spcAft>
            </a:pPr>
            <a:r>
              <a:rPr lang="en-US" sz="1470" dirty="0">
                <a:solidFill>
                  <a:srgbClr val="D8D8D8">
                    <a:lumMod val="10000"/>
                  </a:srgbClr>
                </a:solidFill>
              </a:rPr>
              <a:t>Bottleneck analysis</a:t>
            </a:r>
          </a:p>
          <a:p>
            <a:pPr marL="616069" lvl="2" indent="-280035" defTabSz="672067" fontAlgn="auto">
              <a:lnSpc>
                <a:spcPct val="100000"/>
              </a:lnSpc>
              <a:spcBef>
                <a:spcPts val="588"/>
              </a:spcBef>
              <a:spcAft>
                <a:spcPts val="196"/>
              </a:spcAft>
            </a:pPr>
            <a:r>
              <a:rPr lang="en-US" sz="1470" dirty="0">
                <a:solidFill>
                  <a:srgbClr val="D8D8D8">
                    <a:lumMod val="10000"/>
                  </a:srgbClr>
                </a:solidFill>
              </a:rPr>
              <a:t>Working with data from DHIS2</a:t>
            </a:r>
          </a:p>
          <a:p>
            <a:pPr marL="280035" indent="-280035" defTabSz="672067" fontAlgn="auto">
              <a:lnSpc>
                <a:spcPct val="100000"/>
              </a:lnSpc>
              <a:spcBef>
                <a:spcPts val="588"/>
              </a:spcBef>
              <a:spcAft>
                <a:spcPts val="196"/>
              </a:spcAft>
              <a:buFont typeface="Arial" panose="020B0604020202020204" pitchFamily="34" charset="0"/>
              <a:buChar char="•"/>
            </a:pPr>
            <a:r>
              <a:rPr lang="en-US" sz="1470" dirty="0">
                <a:solidFill>
                  <a:srgbClr val="D8D8D8">
                    <a:lumMod val="10000"/>
                  </a:srgbClr>
                </a:solidFill>
              </a:rPr>
              <a:t>Are there other guide topics that would be helpful to cover?</a:t>
            </a:r>
          </a:p>
        </p:txBody>
      </p:sp>
      <p:pic>
        <p:nvPicPr>
          <p:cNvPr id="5" name="Picture 4">
            <a:extLst>
              <a:ext uri="{FF2B5EF4-FFF2-40B4-BE49-F238E27FC236}">
                <a16:creationId xmlns:a16="http://schemas.microsoft.com/office/drawing/2014/main" id="{F76D5F1A-6394-7143-A0F6-8D615E3D41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91910" y="1820630"/>
            <a:ext cx="3408004" cy="2526954"/>
          </a:xfrm>
          <a:prstGeom prst="rect">
            <a:avLst/>
          </a:prstGeom>
        </p:spPr>
      </p:pic>
    </p:spTree>
    <p:extLst>
      <p:ext uri="{BB962C8B-B14F-4D97-AF65-F5344CB8AC3E}">
        <p14:creationId xmlns:p14="http://schemas.microsoft.com/office/powerpoint/2010/main" val="3684609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itle 1">
            <a:extLst>
              <a:ext uri="{FF2B5EF4-FFF2-40B4-BE49-F238E27FC236}">
                <a16:creationId xmlns:a16="http://schemas.microsoft.com/office/drawing/2014/main" id="{85B17C85-56ED-4CDA-BBC0-FD62BF55A551}"/>
              </a:ext>
            </a:extLst>
          </p:cNvPr>
          <p:cNvSpPr txBox="1">
            <a:spLocks/>
          </p:cNvSpPr>
          <p:nvPr/>
        </p:nvSpPr>
        <p:spPr>
          <a:xfrm>
            <a:off x="455710" y="4397165"/>
            <a:ext cx="8048430" cy="1302857"/>
          </a:xfrm>
          <a:prstGeom prst="rect">
            <a:avLst/>
          </a:prstGeom>
        </p:spPr>
        <p:txBody>
          <a:bodyPr vert="horz" wrap="square" lIns="0" tIns="0" rIns="0" bIns="0" rtlCol="0" anchor="ctr">
            <a:spAutoFit/>
          </a:bodyPr>
          <a:lstStyle>
            <a:lvl1pPr algn="l" defTabSz="672067" rtl="0" eaLnBrk="1" latinLnBrk="0" hangingPunct="1">
              <a:lnSpc>
                <a:spcPct val="90000"/>
              </a:lnSpc>
              <a:spcBef>
                <a:spcPct val="0"/>
              </a:spcBef>
              <a:buNone/>
              <a:defRPr sz="2646"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marL="0" marR="0" lvl="0" indent="0" algn="ctr" defTabSz="672067" rtl="0" eaLnBrk="1" fontAlgn="auto" latinLnBrk="0" hangingPunct="1">
              <a:lnSpc>
                <a:spcPct val="90000"/>
              </a:lnSpc>
              <a:spcBef>
                <a:spcPct val="0"/>
              </a:spcBef>
              <a:spcAft>
                <a:spcPts val="0"/>
              </a:spcAft>
              <a:buClrTx/>
              <a:buSzTx/>
              <a:buFontTx/>
              <a:buNone/>
              <a:tabLst/>
              <a:defRPr/>
            </a:pPr>
            <a:r>
              <a:rPr kumimoji="0" lang="en-US" sz="3136"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Next Steps</a:t>
            </a: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br>
              <a:rPr kumimoji="0" lang="fr-FR"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br>
            <a:endParaRPr kumimoji="0" lang="en-US" sz="3136"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pic>
        <p:nvPicPr>
          <p:cNvPr id="8" name="Picture 7">
            <a:extLst>
              <a:ext uri="{FF2B5EF4-FFF2-40B4-BE49-F238E27FC236}">
                <a16:creationId xmlns:a16="http://schemas.microsoft.com/office/drawing/2014/main" id="{393BBE19-56A8-4EBD-B210-04B0887D6B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234" y="1775996"/>
            <a:ext cx="7352982" cy="1737142"/>
          </a:xfrm>
          <a:prstGeom prst="rect">
            <a:avLst/>
          </a:prstGeom>
        </p:spPr>
      </p:pic>
    </p:spTree>
    <p:extLst>
      <p:ext uri="{BB962C8B-B14F-4D97-AF65-F5344CB8AC3E}">
        <p14:creationId xmlns:p14="http://schemas.microsoft.com/office/powerpoint/2010/main" val="191417208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6CCE317-B57F-41CA-9175-ECC060EF25A2}"/>
              </a:ext>
            </a:extLst>
          </p:cNvPr>
          <p:cNvSpPr>
            <a:spLocks noGrp="1"/>
          </p:cNvSpPr>
          <p:nvPr>
            <p:ph type="body" sz="quarter" idx="17"/>
          </p:nvPr>
        </p:nvSpPr>
        <p:spPr/>
        <p:txBody>
          <a:bodyPr/>
          <a:lstStyle/>
          <a:p>
            <a:endParaRPr lang="en-US"/>
          </a:p>
        </p:txBody>
      </p:sp>
      <p:sp>
        <p:nvSpPr>
          <p:cNvPr id="2" name="Title 1">
            <a:extLst>
              <a:ext uri="{FF2B5EF4-FFF2-40B4-BE49-F238E27FC236}">
                <a16:creationId xmlns:a16="http://schemas.microsoft.com/office/drawing/2014/main" id="{C6815B61-CA6B-4638-BCD3-F0F31E6BEE29}"/>
              </a:ext>
            </a:extLst>
          </p:cNvPr>
          <p:cNvSpPr>
            <a:spLocks noGrp="1"/>
          </p:cNvSpPr>
          <p:nvPr>
            <p:ph type="title" idx="4294967295"/>
          </p:nvPr>
        </p:nvSpPr>
        <p:spPr>
          <a:xfrm>
            <a:off x="0" y="184150"/>
            <a:ext cx="6110288" cy="369888"/>
          </a:xfrm>
        </p:spPr>
        <p:txBody>
          <a:bodyPr>
            <a:normAutofit fontScale="90000"/>
          </a:bodyPr>
          <a:lstStyle/>
          <a:p>
            <a:r>
              <a:rPr lang="en-US" sz="2400" dirty="0">
                <a:latin typeface="Arial" panose="020B0604020202020204" pitchFamily="34" charset="0"/>
                <a:cs typeface="Arial" panose="020B0604020202020204" pitchFamily="34" charset="0"/>
              </a:rPr>
              <a:t>Next Steps: AYAC Scorecard Champions</a:t>
            </a:r>
          </a:p>
        </p:txBody>
      </p:sp>
      <p:sp>
        <p:nvSpPr>
          <p:cNvPr id="3" name="Title 1">
            <a:extLst>
              <a:ext uri="{FF2B5EF4-FFF2-40B4-BE49-F238E27FC236}">
                <a16:creationId xmlns:a16="http://schemas.microsoft.com/office/drawing/2014/main" id="{9274948F-997B-4D0D-925B-70CB5E003FEF}"/>
              </a:ext>
            </a:extLst>
          </p:cNvPr>
          <p:cNvSpPr txBox="1">
            <a:spLocks/>
          </p:cNvSpPr>
          <p:nvPr/>
        </p:nvSpPr>
        <p:spPr bwMode="auto">
          <a:xfrm>
            <a:off x="429654" y="1718377"/>
            <a:ext cx="8072449"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030287" lvl="1" indent="-342900">
              <a:buFont typeface="+mj-lt"/>
              <a:buAutoNum type="arabicPeriod"/>
            </a:pPr>
            <a:endParaRPr lang="en-US" sz="1800" b="0" kern="0" dirty="0">
              <a:latin typeface="+mj-lt"/>
            </a:endParaRPr>
          </a:p>
          <a:p>
            <a:pPr marL="914400" lvl="1" indent="-227013">
              <a:buFont typeface="Arial" panose="020B0604020202020204" pitchFamily="34" charset="0"/>
              <a:buChar char="•"/>
            </a:pPr>
            <a:endParaRPr lang="en-US" sz="1800" b="0" kern="0" dirty="0">
              <a:latin typeface="+mj-lt"/>
            </a:endParaRPr>
          </a:p>
          <a:p>
            <a:pPr marL="914400" lvl="1" indent="-227013">
              <a:buFont typeface="Arial" panose="020B0604020202020204" pitchFamily="34" charset="0"/>
              <a:buChar char="•"/>
            </a:pPr>
            <a:endParaRPr lang="en-US" sz="1800" b="0" kern="0" dirty="0">
              <a:latin typeface="+mj-lt"/>
            </a:endParaRPr>
          </a:p>
        </p:txBody>
      </p:sp>
      <p:graphicFrame>
        <p:nvGraphicFramePr>
          <p:cNvPr id="5" name="Table 4">
            <a:extLst>
              <a:ext uri="{FF2B5EF4-FFF2-40B4-BE49-F238E27FC236}">
                <a16:creationId xmlns:a16="http://schemas.microsoft.com/office/drawing/2014/main" id="{CAFBC09E-5B19-4CC0-8C3F-B1A107B56172}"/>
              </a:ext>
            </a:extLst>
          </p:cNvPr>
          <p:cNvGraphicFramePr>
            <a:graphicFrameLocks noGrp="1"/>
          </p:cNvGraphicFramePr>
          <p:nvPr>
            <p:extLst>
              <p:ext uri="{D42A27DB-BD31-4B8C-83A1-F6EECF244321}">
                <p14:modId xmlns:p14="http://schemas.microsoft.com/office/powerpoint/2010/main" val="2574615311"/>
              </p:ext>
            </p:extLst>
          </p:nvPr>
        </p:nvGraphicFramePr>
        <p:xfrm>
          <a:off x="0" y="764177"/>
          <a:ext cx="8961438" cy="5957298"/>
        </p:xfrm>
        <a:graphic>
          <a:graphicData uri="http://schemas.openxmlformats.org/drawingml/2006/table">
            <a:tbl>
              <a:tblPr firstRow="1" bandRow="1">
                <a:tableStyleId>{00A15C55-8517-42AA-B614-E9B94910E393}</a:tableStyleId>
              </a:tblPr>
              <a:tblGrid>
                <a:gridCol w="6471554">
                  <a:extLst>
                    <a:ext uri="{9D8B030D-6E8A-4147-A177-3AD203B41FA5}">
                      <a16:colId xmlns:a16="http://schemas.microsoft.com/office/drawing/2014/main" val="3381537404"/>
                    </a:ext>
                  </a:extLst>
                </a:gridCol>
                <a:gridCol w="2489884">
                  <a:extLst>
                    <a:ext uri="{9D8B030D-6E8A-4147-A177-3AD203B41FA5}">
                      <a16:colId xmlns:a16="http://schemas.microsoft.com/office/drawing/2014/main" val="3951965831"/>
                    </a:ext>
                  </a:extLst>
                </a:gridCol>
              </a:tblGrid>
              <a:tr h="299931">
                <a:tc>
                  <a:txBody>
                    <a:bodyPr/>
                    <a:lstStyle/>
                    <a:p>
                      <a:pPr algn="ctr"/>
                      <a:r>
                        <a:rPr lang="en-US" dirty="0"/>
                        <a:t>Activity</a:t>
                      </a:r>
                    </a:p>
                  </a:txBody>
                  <a:tcPr anchor="ctr"/>
                </a:tc>
                <a:tc>
                  <a:txBody>
                    <a:bodyPr/>
                    <a:lstStyle/>
                    <a:p>
                      <a:pPr algn="ctr"/>
                      <a:r>
                        <a:rPr lang="en-US" dirty="0"/>
                        <a:t>Deadline</a:t>
                      </a:r>
                    </a:p>
                  </a:txBody>
                  <a:tcPr anchor="ctr"/>
                </a:tc>
                <a:extLst>
                  <a:ext uri="{0D108BD9-81ED-4DB2-BD59-A6C34878D82A}">
                    <a16:rowId xmlns:a16="http://schemas.microsoft.com/office/drawing/2014/main" val="3051957912"/>
                  </a:ext>
                </a:extLst>
              </a:tr>
              <a:tr h="374345">
                <a:tc>
                  <a:txBody>
                    <a:bodyPr/>
                    <a:lstStyle/>
                    <a:p>
                      <a:pPr marL="0" indent="0">
                        <a:spcBef>
                          <a:spcPts val="0"/>
                        </a:spcBef>
                        <a:spcAft>
                          <a:spcPts val="0"/>
                        </a:spcAft>
                        <a:buFont typeface="Symbol" panose="05050102010706020507" pitchFamily="18" charset="2"/>
                        <a:buNone/>
                      </a:pPr>
                      <a:r>
                        <a:rPr lang="en-US" sz="1800" b="0" dirty="0">
                          <a:solidFill>
                            <a:schemeClr val="tx1"/>
                          </a:solidFill>
                          <a:latin typeface="Arial" panose="020B0604020202020204" pitchFamily="34" charset="0"/>
                          <a:cs typeface="Arial" panose="020B0604020202020204" pitchFamily="34" charset="0"/>
                        </a:rPr>
                        <a:t>Create an account in the Scorecard Hub</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764069760"/>
                  </a:ext>
                </a:extLst>
              </a:tr>
              <a:tr h="655104">
                <a:tc>
                  <a:txBody>
                    <a:bodyPr/>
                    <a:lstStyle/>
                    <a:p>
                      <a:pPr marL="0" indent="0">
                        <a:spcBef>
                          <a:spcPts val="0"/>
                        </a:spcBef>
                        <a:spcAft>
                          <a:spcPts val="0"/>
                        </a:spcAft>
                        <a:buFont typeface="Symbol" panose="05050102010706020507" pitchFamily="18" charset="2"/>
                        <a:buNone/>
                      </a:pPr>
                      <a:r>
                        <a:rPr lang="en-US" sz="1800" b="0" dirty="0">
                          <a:solidFill>
                            <a:schemeClr val="tx1"/>
                          </a:solidFill>
                          <a:latin typeface="Arial" panose="020B0604020202020204" pitchFamily="34" charset="0"/>
                          <a:cs typeface="Arial" panose="020B0604020202020204" pitchFamily="34" charset="0"/>
                        </a:rPr>
                        <a:t>Finish the courses and quizzes to earn a certificate of complet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685650788"/>
                  </a:ext>
                </a:extLst>
              </a:tr>
              <a:tr h="65510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dirty="0">
                          <a:solidFill>
                            <a:schemeClr val="tx1"/>
                          </a:solidFill>
                          <a:latin typeface="Arial" panose="020B0604020202020204" pitchFamily="34" charset="0"/>
                          <a:cs typeface="Arial" panose="020B0604020202020204" pitchFamily="34" charset="0"/>
                        </a:rPr>
                        <a:t>Liaise with ALMA to inquire about gaining access to scorecard on the web platform if it is not available on the scorecard hub</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272858678"/>
                  </a:ext>
                </a:extLst>
              </a:tr>
              <a:tr h="655104">
                <a:tc>
                  <a:txBody>
                    <a:bodyPr/>
                    <a:lstStyle/>
                    <a:p>
                      <a:r>
                        <a:rPr lang="en-US" sz="1800" b="0" kern="1200" dirty="0">
                          <a:solidFill>
                            <a:schemeClr val="tx1"/>
                          </a:solidFill>
                          <a:latin typeface="Arial" panose="020B0604020202020204" pitchFamily="34" charset="0"/>
                          <a:ea typeface="Calibri" panose="020F0502020204030204" pitchFamily="34" charset="0"/>
                          <a:cs typeface="Arial" panose="020B0604020202020204" pitchFamily="34" charset="0"/>
                        </a:rPr>
                        <a:t>Analyse your country scorecard and identify priorities requiring attention, then share the analysi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801797923"/>
                  </a:ext>
                </a:extLst>
              </a:tr>
              <a:tr h="655104">
                <a:tc>
                  <a:txBody>
                    <a:bodyPr/>
                    <a:lstStyle/>
                    <a:p>
                      <a:pPr marL="0" indent="0">
                        <a:spcBef>
                          <a:spcPts val="0"/>
                        </a:spcBef>
                        <a:spcAft>
                          <a:spcPts val="0"/>
                        </a:spcAft>
                        <a:buFont typeface="Symbol" panose="05050102010706020507" pitchFamily="18" charset="2"/>
                        <a:buNone/>
                      </a:pPr>
                      <a:r>
                        <a:rPr lang="en-US" sz="1800" b="0" dirty="0">
                          <a:solidFill>
                            <a:schemeClr val="tx1"/>
                          </a:solidFill>
                          <a:latin typeface="Arial" panose="020B0604020202020204" pitchFamily="34" charset="0"/>
                          <a:cs typeface="Arial" panose="020B0604020202020204" pitchFamily="34" charset="0"/>
                        </a:rPr>
                        <a:t>Train other youth groups and stakeholders on the use of scorecards using the Scorecard Hub</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44083554"/>
                  </a:ext>
                </a:extLst>
              </a:tr>
              <a:tr h="41653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b="0" dirty="0">
                        <a:solidFill>
                          <a:schemeClr val="tx1"/>
                        </a:solidFill>
                        <a:latin typeface="Arial" panose="020B0604020202020204" pitchFamily="34" charset="0"/>
                        <a:cs typeface="Arial" panose="020B0604020202020204" pitchFamily="34" charset="0"/>
                      </a:endParaRPr>
                    </a:p>
                  </a:txBody>
                  <a:tcPr anchor="ctr"/>
                </a:tc>
                <a:tc>
                  <a:txBody>
                    <a:bodyPr/>
                    <a:lstStyle/>
                    <a:p>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71504472"/>
                  </a:ext>
                </a:extLst>
              </a:tr>
              <a:tr h="37434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b="0" dirty="0">
                        <a:solidFill>
                          <a:schemeClr val="tx1"/>
                        </a:solidFill>
                        <a:latin typeface="Arial" panose="020B0604020202020204" pitchFamily="34" charset="0"/>
                        <a:cs typeface="Arial" panose="020B0604020202020204" pitchFamily="34" charset="0"/>
                      </a:endParaRPr>
                    </a:p>
                  </a:txBody>
                  <a:tcPr anchor="ctr"/>
                </a:tc>
                <a:tc>
                  <a:txBody>
                    <a:bodyPr/>
                    <a:lstStyle/>
                    <a:p>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251950424"/>
                  </a:ext>
                </a:extLst>
              </a:tr>
              <a:tr h="3743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kern="1200" dirty="0">
                        <a:solidFill>
                          <a:schemeClr val="tx1"/>
                        </a:solidFill>
                        <a:latin typeface="Arial" panose="020B0604020202020204" pitchFamily="34" charset="0"/>
                        <a:ea typeface="Calibri" panose="020F0502020204030204" pitchFamily="34" charset="0"/>
                        <a:cs typeface="Arial" panose="020B0604020202020204" pitchFamily="34" charset="0"/>
                      </a:endParaRPr>
                    </a:p>
                  </a:txBody>
                  <a:tcPr anchor="ctr"/>
                </a:tc>
                <a:tc>
                  <a:txBody>
                    <a:bodyPr/>
                    <a:lstStyle/>
                    <a:p>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7"/>
                  </a:ext>
                </a:extLst>
              </a:tr>
              <a:tr h="3743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kern="1200" dirty="0">
                        <a:solidFill>
                          <a:schemeClr val="tx1"/>
                        </a:solidFill>
                        <a:latin typeface="Arial" panose="020B0604020202020204" pitchFamily="34" charset="0"/>
                        <a:ea typeface="Calibri" panose="020F050202020403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13712075"/>
                  </a:ext>
                </a:extLst>
              </a:tr>
              <a:tr h="374345">
                <a:tc>
                  <a:txBody>
                    <a:bodyPr/>
                    <a:lstStyle/>
                    <a:p>
                      <a:pPr marL="285750" indent="-285750" algn="l" defTabSz="914400" rtl="0" eaLnBrk="1" latinLnBrk="0" hangingPunct="1">
                        <a:buFont typeface="Arial" panose="020B0604020202020204" pitchFamily="34" charset="0"/>
                        <a:buChar char="•"/>
                      </a:pPr>
                      <a:endParaRPr lang="en-US" sz="1800" b="0" kern="1200" dirty="0">
                        <a:solidFill>
                          <a:schemeClr val="accent4"/>
                        </a:solidFill>
                        <a:latin typeface="Arial" panose="020B0604020202020204" pitchFamily="34" charset="0"/>
                        <a:ea typeface="Calibri" panose="020F050202020403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497003706"/>
                  </a:ext>
                </a:extLst>
              </a:tr>
              <a:tr h="374345">
                <a:tc>
                  <a:txBody>
                    <a:bodyPr/>
                    <a:lstStyle/>
                    <a:p>
                      <a:endParaRPr lang="en-US" sz="1800" b="0" dirty="0">
                        <a:latin typeface="Arial" panose="020B0604020202020204" pitchFamily="34" charset="0"/>
                        <a:cs typeface="Arial" panose="020B0604020202020204" pitchFamily="34" charset="0"/>
                      </a:endParaRPr>
                    </a:p>
                  </a:txBody>
                  <a:tcPr anchor="ctr"/>
                </a:tc>
                <a:tc>
                  <a:txBody>
                    <a:bodyPr/>
                    <a:lstStyle/>
                    <a:p>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957428121"/>
                  </a:ext>
                </a:extLst>
              </a:tr>
              <a:tr h="374345">
                <a:tc>
                  <a:txBody>
                    <a:bodyPr/>
                    <a:lstStyle/>
                    <a:p>
                      <a:endParaRPr lang="en-US" sz="1800" b="0" dirty="0">
                        <a:latin typeface="Arial" panose="020B0604020202020204" pitchFamily="34" charset="0"/>
                        <a:cs typeface="Arial" panose="020B0604020202020204" pitchFamily="34" charset="0"/>
                      </a:endParaRPr>
                    </a:p>
                  </a:txBody>
                  <a:tcPr anchor="ctr"/>
                </a:tc>
                <a:tc>
                  <a:txBody>
                    <a:bodyPr/>
                    <a:lstStyle/>
                    <a:p>
                      <a:endParaRPr lang="en-US" sz="18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525613972"/>
                  </a:ext>
                </a:extLst>
              </a:tr>
            </a:tbl>
          </a:graphicData>
        </a:graphic>
      </p:graphicFrame>
    </p:spTree>
    <p:extLst>
      <p:ext uri="{BB962C8B-B14F-4D97-AF65-F5344CB8AC3E}">
        <p14:creationId xmlns:p14="http://schemas.microsoft.com/office/powerpoint/2010/main" val="1992493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325763"/>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Other relevant content for countries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Other content</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4BCD1EC9-8F0A-BA4F-B093-0C5196AF923A}"/>
              </a:ext>
            </a:extLst>
          </p:cNvPr>
          <p:cNvSpPr txBox="1">
            <a:spLocks/>
          </p:cNvSpPr>
          <p:nvPr/>
        </p:nvSpPr>
        <p:spPr>
          <a:xfrm>
            <a:off x="461524" y="1820629"/>
            <a:ext cx="4006487" cy="150815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defTabSz="672067" fontAlgn="auto">
              <a:lnSpc>
                <a:spcPct val="100000"/>
              </a:lnSpc>
              <a:spcBef>
                <a:spcPts val="196"/>
              </a:spcBef>
              <a:spcAft>
                <a:spcPts val="392"/>
              </a:spcAft>
              <a:buFont typeface="Arial" panose="020B0604020202020204" pitchFamily="34" charset="0"/>
              <a:buChar char="•"/>
            </a:pPr>
            <a:r>
              <a:rPr lang="en-US" sz="1470" dirty="0">
                <a:solidFill>
                  <a:srgbClr val="D8D8D8">
                    <a:lumMod val="10000"/>
                  </a:srgbClr>
                </a:solidFill>
              </a:rPr>
              <a:t>Our courses are also </a:t>
            </a:r>
            <a:r>
              <a:rPr lang="en-US" sz="1470" dirty="0">
                <a:solidFill>
                  <a:srgbClr val="D8D8D8">
                    <a:lumMod val="10000"/>
                  </a:srgbClr>
                </a:solidFill>
                <a:hlinkClick r:id="rId2"/>
              </a:rPr>
              <a:t>available to download for offline viewing</a:t>
            </a:r>
            <a:endParaRPr lang="en-US" sz="1470" dirty="0">
              <a:solidFill>
                <a:srgbClr val="D8D8D8">
                  <a:lumMod val="10000"/>
                </a:srgbClr>
              </a:solidFill>
            </a:endParaRPr>
          </a:p>
          <a:p>
            <a:pPr marL="280035" indent="-280035" defTabSz="672067" fontAlgn="auto">
              <a:lnSpc>
                <a:spcPct val="100000"/>
              </a:lnSpc>
              <a:spcBef>
                <a:spcPts val="196"/>
              </a:spcBef>
              <a:spcAft>
                <a:spcPts val="392"/>
              </a:spcAft>
              <a:buFont typeface="Arial" panose="020B0604020202020204" pitchFamily="34" charset="0"/>
              <a:buChar char="•"/>
            </a:pPr>
            <a:r>
              <a:rPr lang="en-US" sz="1470" dirty="0">
                <a:solidFill>
                  <a:srgbClr val="D8D8D8">
                    <a:lumMod val="10000"/>
                  </a:srgbClr>
                </a:solidFill>
              </a:rPr>
              <a:t>View </a:t>
            </a:r>
            <a:r>
              <a:rPr lang="en-US" sz="1470" dirty="0">
                <a:solidFill>
                  <a:srgbClr val="D8D8D8">
                    <a:lumMod val="10000"/>
                  </a:srgbClr>
                </a:solidFill>
                <a:hlinkClick r:id="rId3"/>
              </a:rPr>
              <a:t>all malaria scorecards</a:t>
            </a:r>
            <a:r>
              <a:rPr lang="en-US" sz="1470" dirty="0">
                <a:solidFill>
                  <a:srgbClr val="D8D8D8">
                    <a:lumMod val="10000"/>
                  </a:srgbClr>
                </a:solidFill>
              </a:rPr>
              <a:t> published on the hub</a:t>
            </a:r>
          </a:p>
          <a:p>
            <a:pPr marL="280035" indent="-280035" defTabSz="672067" fontAlgn="auto">
              <a:lnSpc>
                <a:spcPct val="100000"/>
              </a:lnSpc>
              <a:spcBef>
                <a:spcPts val="196"/>
              </a:spcBef>
              <a:spcAft>
                <a:spcPts val="392"/>
              </a:spcAft>
              <a:buFont typeface="Arial" panose="020B0604020202020204" pitchFamily="34" charset="0"/>
              <a:buChar char="•"/>
            </a:pPr>
            <a:r>
              <a:rPr lang="en-US" sz="1470" dirty="0">
                <a:solidFill>
                  <a:srgbClr val="D8D8D8">
                    <a:lumMod val="10000"/>
                  </a:srgbClr>
                </a:solidFill>
              </a:rPr>
              <a:t>View </a:t>
            </a:r>
            <a:r>
              <a:rPr lang="en-US" sz="1470" dirty="0">
                <a:solidFill>
                  <a:srgbClr val="D8D8D8">
                    <a:lumMod val="10000"/>
                  </a:srgbClr>
                </a:solidFill>
                <a:hlinkClick r:id="rId4"/>
              </a:rPr>
              <a:t>all malaria best practices</a:t>
            </a:r>
            <a:r>
              <a:rPr lang="en-US" sz="1470" dirty="0">
                <a:solidFill>
                  <a:srgbClr val="D8D8D8">
                    <a:lumMod val="10000"/>
                  </a:srgbClr>
                </a:solidFill>
              </a:rPr>
              <a:t> published on the hub</a:t>
            </a:r>
          </a:p>
        </p:txBody>
      </p:sp>
      <p:pic>
        <p:nvPicPr>
          <p:cNvPr id="7" name="Picture 6">
            <a:extLst>
              <a:ext uri="{FF2B5EF4-FFF2-40B4-BE49-F238E27FC236}">
                <a16:creationId xmlns:a16="http://schemas.microsoft.com/office/drawing/2014/main" id="{10D94E3C-0612-0F41-B2A5-EB4DBC3768C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91910" y="1820629"/>
            <a:ext cx="3526303" cy="2723652"/>
          </a:xfrm>
          <a:prstGeom prst="rect">
            <a:avLst/>
          </a:prstGeom>
        </p:spPr>
      </p:pic>
    </p:spTree>
    <p:extLst>
      <p:ext uri="{BB962C8B-B14F-4D97-AF65-F5344CB8AC3E}">
        <p14:creationId xmlns:p14="http://schemas.microsoft.com/office/powerpoint/2010/main" val="21940618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506F7-6450-4109-953D-C2297A45B44B}"/>
              </a:ext>
            </a:extLst>
          </p:cNvPr>
          <p:cNvSpPr>
            <a:spLocks noGrp="1"/>
          </p:cNvSpPr>
          <p:nvPr>
            <p:ph type="title"/>
          </p:nvPr>
        </p:nvSpPr>
        <p:spPr>
          <a:xfrm>
            <a:off x="448072" y="977515"/>
            <a:ext cx="8065294" cy="5847755"/>
          </a:xfrm>
        </p:spPr>
        <p:txBody>
          <a:bodyPr/>
          <a:lstStyle/>
          <a:p>
            <a:pPr marL="0" marR="0" lvl="0" indent="0" algn="l" defTabSz="914400" rtl="0" eaLnBrk="0" fontAlgn="base" latinLnBrk="0" hangingPunct="0">
              <a:lnSpc>
                <a:spcPct val="100000"/>
              </a:lnSpc>
              <a:spcBef>
                <a:spcPct val="0"/>
              </a:spcBef>
              <a:spcAft>
                <a:spcPct val="0"/>
              </a:spcAft>
              <a:buClrTx/>
              <a:buSzTx/>
              <a:tabLst/>
            </a:pPr>
            <a:r>
              <a:rPr lang="en-US" sz="2400" dirty="0"/>
              <a:t>Website: </a:t>
            </a:r>
            <a:r>
              <a:rPr lang="en-US" sz="2400" dirty="0">
                <a:hlinkClick r:id="rId2"/>
              </a:rPr>
              <a:t>www.scorecardhub.org</a:t>
            </a:r>
            <a:br>
              <a:rPr lang="en-US" sz="2400" dirty="0"/>
            </a:br>
            <a:br>
              <a:rPr lang="en-US" sz="2400" dirty="0"/>
            </a:br>
            <a:r>
              <a:rPr lang="en-US" sz="2400" dirty="0"/>
              <a:t>If you have not already created an account, you can use your email as the username and the password: </a:t>
            </a:r>
            <a:r>
              <a:rPr lang="en-GB" sz="2800" b="1" dirty="0">
                <a:effectLst/>
                <a:latin typeface="Calibri" panose="020F0502020204030204" pitchFamily="34" charset="0"/>
                <a:ea typeface="Calibri" panose="020F0502020204030204" pitchFamily="34" charset="0"/>
              </a:rPr>
              <a:t>AYAC2021!</a:t>
            </a:r>
            <a:br>
              <a:rPr lang="en-US" sz="2400" dirty="0"/>
            </a:br>
            <a:br>
              <a:rPr lang="en-US" sz="2400" dirty="0"/>
            </a:br>
            <a:r>
              <a:rPr lang="en-US" sz="2400" dirty="0"/>
              <a:t>Then click on courses</a:t>
            </a:r>
            <a:br>
              <a:rPr lang="en-US" sz="1800" dirty="0"/>
            </a:br>
            <a:br>
              <a:rPr lang="en-US" sz="1800" dirty="0"/>
            </a:br>
            <a:r>
              <a:rPr lang="en-US" sz="1800" dirty="0"/>
              <a:t>Or use this link to access the AYAC course: </a:t>
            </a:r>
            <a:br>
              <a:rPr lang="en-US" sz="1600" dirty="0"/>
            </a:br>
            <a:br>
              <a:rPr lang="en-US" sz="1600" dirty="0"/>
            </a:br>
            <a:r>
              <a:rPr kumimoji="0" lang="en-US" altLang="en-US" sz="14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English: </a:t>
            </a:r>
            <a:r>
              <a:rPr kumimoji="0" lang="en-US" altLang="en-US" sz="14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hlinkClick r:id="rId3"/>
              </a:rPr>
              <a:t>https://scorecardhub.org/courses/alma-youth-advisory-council-course/</a:t>
            </a:r>
            <a:br>
              <a:rPr kumimoji="0" lang="en-US" altLang="en-US" sz="1400" b="0" i="0" u="none" strike="noStrike" cap="none" normalizeH="0" baseline="0" dirty="0">
                <a:ln>
                  <a:noFill/>
                </a:ln>
                <a:solidFill>
                  <a:schemeClr val="tx1"/>
                </a:solidFill>
                <a:effectLst/>
                <a:latin typeface="Arial" panose="020B0604020202020204" pitchFamily="34" charset="0"/>
                <a:ea typeface="Calibri" panose="020F0502020204030204" pitchFamily="34" charset="0"/>
              </a:rPr>
            </a:br>
            <a:r>
              <a:rPr kumimoji="0" lang="en-US" altLang="en-US" sz="14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French: </a:t>
            </a:r>
            <a:r>
              <a:rPr kumimoji="0" lang="en-US" altLang="en-US" sz="14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hlinkClick r:id="rId4"/>
              </a:rPr>
              <a:t>https://scorecardhub.org/fr/courses/formation-du-conseil-consultatif-des-jeunes-de-lalma</a:t>
            </a:r>
            <a:r>
              <a:rPr kumimoji="0" lang="en-US" altLang="en-US" sz="14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a:t>
            </a:r>
            <a:br>
              <a:rPr lang="en-US" sz="1600" dirty="0"/>
            </a:br>
            <a:br>
              <a:rPr lang="en-US" sz="1600" dirty="0">
                <a:effectLst/>
                <a:ea typeface="Calibri" panose="020F0502020204030204" pitchFamily="34" charset="0"/>
              </a:rPr>
            </a:br>
            <a:br>
              <a:rPr lang="en-US" sz="1600" dirty="0"/>
            </a:br>
            <a:br>
              <a:rPr lang="en-US" sz="1600" dirty="0"/>
            </a:br>
            <a:br>
              <a:rPr lang="en-US" sz="1600" dirty="0"/>
            </a:br>
            <a:br>
              <a:rPr lang="en-US" sz="1600" dirty="0"/>
            </a:br>
            <a:br>
              <a:rPr lang="en-US" sz="1600" dirty="0"/>
            </a:br>
            <a:br>
              <a:rPr lang="en-US" sz="1600" dirty="0"/>
            </a:br>
            <a:endParaRPr lang="en-US" sz="1600" dirty="0"/>
          </a:p>
        </p:txBody>
      </p:sp>
      <p:sp>
        <p:nvSpPr>
          <p:cNvPr id="3" name="Text Placeholder 2">
            <a:extLst>
              <a:ext uri="{FF2B5EF4-FFF2-40B4-BE49-F238E27FC236}">
                <a16:creationId xmlns:a16="http://schemas.microsoft.com/office/drawing/2014/main" id="{33BA4EC1-84F5-4E36-83F9-DEF0920B31E1}"/>
              </a:ext>
            </a:extLst>
          </p:cNvPr>
          <p:cNvSpPr>
            <a:spLocks noGrp="1"/>
          </p:cNvSpPr>
          <p:nvPr>
            <p:ph type="body" sz="quarter" idx="17"/>
          </p:nvPr>
        </p:nvSpPr>
        <p:spPr/>
        <p:txBody>
          <a:bodyPr/>
          <a:lstStyle/>
          <a:p>
            <a:endParaRPr lang="en-US" dirty="0"/>
          </a:p>
        </p:txBody>
      </p:sp>
      <p:sp>
        <p:nvSpPr>
          <p:cNvPr id="4" name="Rectangle 1">
            <a:extLst>
              <a:ext uri="{FF2B5EF4-FFF2-40B4-BE49-F238E27FC236}">
                <a16:creationId xmlns:a16="http://schemas.microsoft.com/office/drawing/2014/main" id="{8D4E101B-80F6-4040-ACFB-CE4E516C733A}"/>
              </a:ext>
            </a:extLst>
          </p:cNvPr>
          <p:cNvSpPr>
            <a:spLocks noChangeArrowheads="1"/>
          </p:cNvSpPr>
          <p:nvPr/>
        </p:nvSpPr>
        <p:spPr bwMode="auto">
          <a:xfrm>
            <a:off x="0" y="-276999"/>
            <a:ext cx="18473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764204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3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m&lt;/m_strFormatTime&gt;&lt;/m_precDefaultMonth&gt;&lt;m_precDefaultWeek&gt;&lt;m_bNumberIsYear val=&quot;0&quot;/&gt;&lt;m_strFormatTime&gt;%4&lt;/m_strFormatTime&gt;&lt;/m_precDefaultWeek&gt;&lt;m_precDefaultDay&gt;&lt;m_bNumberIsYear val=&quot;0&quot;/&gt;&lt;m_strFormatTime&gt;%a&lt;/m_strFormatTime&gt;&lt;/m_precDefaultDay&gt;&lt;m_mruColor&gt;&lt;m_vecMRU length=&quot;4&quot;&gt;&lt;elem m_fUsage=&quot;2.71000000000000000000E+000&quot;&gt;&lt;m_msothmcolidx val=&quot;0&quot;/&gt;&lt;m_rgb r=&quot;ff&quot; g=&quot;ff&quot; b=&quot;8c&quot;/&gt;&lt;m_ppcolschidx tagver0=&quot;23004&quot; tagname0=&quot;m_ppcolschidxUNRECOGNIZED&quot; val=&quot;0&quot;/&gt;&lt;m_nBrightness val=&quot;0&quot;/&gt;&lt;/elem&gt;&lt;elem m_fUsage=&quot;1.18754100000000020000E+000&quot;&gt;&lt;m_msothmcolidx val=&quot;0&quot;/&gt;&lt;m_rgb r=&quot;0&quot; g=&quot;68&quot; b=&quot;2f&quot;/&gt;&lt;m_ppcolschidx tagver0=&quot;23004&quot; tagname0=&quot;m_ppcolschidxUNRECOGNIZED&quot; val=&quot;0&quot;/&gt;&lt;m_nBrightness val=&quot;0&quot;/&gt;&lt;/elem&gt;&lt;elem m_fUsage=&quot;1.06878690000000010000E+000&quot;&gt;&lt;m_msothmcolidx val=&quot;0&quot;/&gt;&lt;m_rgb r=&quot;35&quot; g=&quot;ec&quot; b=&quot;0&quot;/&gt;&lt;m_ppcolschidx tagver0=&quot;23004&quot; tagname0=&quot;m_ppcolschidxUNRECOGNIZED&quot; val=&quot;0&quot;/&gt;&lt;m_nBrightness val=&quot;0&quot;/&gt;&lt;/elem&gt;&lt;elem m_fUsage=&quot;7.29000000000000090000E-001&quot;&gt;&lt;m_msothmcolidx val=&quot;0&quot;/&gt;&lt;m_rgb r=&quot;eb&quot; g=&quot;eb&quot; b=&quot;eb&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 name="ISNEWSLIDENUMBER" val="False"/>
  <p:tag name="PREVIOUSNAME" val="C:\Users\Stephen Rooke\Nomadesk\ALMA-Malaria-Elimination\02 Facilitator's Guide\Malaria Control and Elimination Facilitators Guide vF.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100.xml><?xml version="1.0" encoding="utf-8"?>
<p:tagLst xmlns:a="http://schemas.openxmlformats.org/drawingml/2006/main" xmlns:r="http://schemas.openxmlformats.org/officeDocument/2006/relationships" xmlns:p="http://schemas.openxmlformats.org/presentationml/2006/main">
  <p:tag name="NAME" val="Rectangle"/>
</p:tagLst>
</file>

<file path=ppt/tags/tag101.xml><?xml version="1.0" encoding="utf-8"?>
<p:tagLst xmlns:a="http://schemas.openxmlformats.org/drawingml/2006/main" xmlns:r="http://schemas.openxmlformats.org/officeDocument/2006/relationships" xmlns:p="http://schemas.openxmlformats.org/presentationml/2006/main">
  <p:tag name="NAME" val="Rectangle"/>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Lst>
</file>

<file path=ppt/tags/tag103.xml><?xml version="1.0" encoding="utf-8"?>
<p:tagLst xmlns:a="http://schemas.openxmlformats.org/drawingml/2006/main" xmlns:r="http://schemas.openxmlformats.org/officeDocument/2006/relationships" xmlns:p="http://schemas.openxmlformats.org/presentationml/2006/main">
  <p:tag name="NAME" val="SingleBoat"/>
</p:tagLst>
</file>

<file path=ppt/tags/tag104.xml><?xml version="1.0" encoding="utf-8"?>
<p:tagLst xmlns:a="http://schemas.openxmlformats.org/drawingml/2006/main" xmlns:r="http://schemas.openxmlformats.org/officeDocument/2006/relationships" xmlns:p="http://schemas.openxmlformats.org/presentationml/2006/main">
  <p:tag name="NAME" val="SingleBoat"/>
</p:tagLst>
</file>

<file path=ppt/tags/tag105.xml><?xml version="1.0" encoding="utf-8"?>
<p:tagLst xmlns:a="http://schemas.openxmlformats.org/drawingml/2006/main" xmlns:r="http://schemas.openxmlformats.org/officeDocument/2006/relationships" xmlns:p="http://schemas.openxmlformats.org/presentationml/2006/main">
  <p:tag name="NAME" val="SingleBoat"/>
</p:tagLst>
</file>

<file path=ppt/tags/tag106.xml><?xml version="1.0" encoding="utf-8"?>
<p:tagLst xmlns:a="http://schemas.openxmlformats.org/drawingml/2006/main" xmlns:r="http://schemas.openxmlformats.org/officeDocument/2006/relationships" xmlns:p="http://schemas.openxmlformats.org/presentationml/2006/main">
  <p:tag name="NAME" val="SingleBoat"/>
</p:tagLst>
</file>

<file path=ppt/tags/tag107.xml><?xml version="1.0" encoding="utf-8"?>
<p:tagLst xmlns:a="http://schemas.openxmlformats.org/drawingml/2006/main" xmlns:r="http://schemas.openxmlformats.org/officeDocument/2006/relationships" xmlns:p="http://schemas.openxmlformats.org/presentationml/2006/main">
  <p:tag name="NAME" val="SingleBoat"/>
</p:tagLst>
</file>

<file path=ppt/tags/tag10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0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11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4.xml><?xml version="1.0" encoding="utf-8"?>
<p:tagLst xmlns:a="http://schemas.openxmlformats.org/drawingml/2006/main" xmlns:r="http://schemas.openxmlformats.org/officeDocument/2006/relationships" xmlns:p="http://schemas.openxmlformats.org/presentationml/2006/main">
  <p:tag name="NAME" val="SingleBoatText"/>
</p:tagLst>
</file>

<file path=ppt/tags/tag11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6.xml><?xml version="1.0" encoding="utf-8"?>
<p:tagLst xmlns:a="http://schemas.openxmlformats.org/drawingml/2006/main" xmlns:r="http://schemas.openxmlformats.org/officeDocument/2006/relationships" xmlns:p="http://schemas.openxmlformats.org/presentationml/2006/main">
  <p:tag name="NAME" val="SingleBoatText"/>
</p:tagLst>
</file>

<file path=ppt/tags/tag11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8.xml><?xml version="1.0" encoding="utf-8"?>
<p:tagLst xmlns:a="http://schemas.openxmlformats.org/drawingml/2006/main" xmlns:r="http://schemas.openxmlformats.org/officeDocument/2006/relationships" xmlns:p="http://schemas.openxmlformats.org/presentationml/2006/main">
  <p:tag name="NAME" val="SingleBoatText"/>
</p:tagLst>
</file>

<file path=ppt/tags/tag11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120.xml><?xml version="1.0" encoding="utf-8"?>
<p:tagLst xmlns:a="http://schemas.openxmlformats.org/drawingml/2006/main" xmlns:r="http://schemas.openxmlformats.org/officeDocument/2006/relationships" xmlns:p="http://schemas.openxmlformats.org/presentationml/2006/main">
  <p:tag name="NAME" val="SingleBoatText"/>
</p:tagLst>
</file>

<file path=ppt/tags/tag1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23.xml><?xml version="1.0" encoding="utf-8"?>
<p:tagLst xmlns:a="http://schemas.openxmlformats.org/drawingml/2006/main" xmlns:r="http://schemas.openxmlformats.org/officeDocument/2006/relationships" xmlns:p="http://schemas.openxmlformats.org/presentationml/2006/main">
  <p:tag name="NAME" val="SingleBoat"/>
</p:tagLst>
</file>

<file path=ppt/tags/tag124.xml><?xml version="1.0" encoding="utf-8"?>
<p:tagLst xmlns:a="http://schemas.openxmlformats.org/drawingml/2006/main" xmlns:r="http://schemas.openxmlformats.org/officeDocument/2006/relationships" xmlns:p="http://schemas.openxmlformats.org/presentationml/2006/main">
  <p:tag name="NAME" val="SingleBoat"/>
</p:tagLst>
</file>

<file path=ppt/tags/tag125.xml><?xml version="1.0" encoding="utf-8"?>
<p:tagLst xmlns:a="http://schemas.openxmlformats.org/drawingml/2006/main" xmlns:r="http://schemas.openxmlformats.org/officeDocument/2006/relationships" xmlns:p="http://schemas.openxmlformats.org/presentationml/2006/main">
  <p:tag name="NAME" val="SingleBoat"/>
</p:tagLst>
</file>

<file path=ppt/tags/tag126.xml><?xml version="1.0" encoding="utf-8"?>
<p:tagLst xmlns:a="http://schemas.openxmlformats.org/drawingml/2006/main" xmlns:r="http://schemas.openxmlformats.org/officeDocument/2006/relationships" xmlns:p="http://schemas.openxmlformats.org/presentationml/2006/main">
  <p:tag name="NAME" val="SingleBoat"/>
</p:tagLst>
</file>

<file path=ppt/tags/tag127.xml><?xml version="1.0" encoding="utf-8"?>
<p:tagLst xmlns:a="http://schemas.openxmlformats.org/drawingml/2006/main" xmlns:r="http://schemas.openxmlformats.org/officeDocument/2006/relationships" xmlns:p="http://schemas.openxmlformats.org/presentationml/2006/main">
  <p:tag name="NAME" val="SingleBoat"/>
</p:tagLst>
</file>

<file path=ppt/tags/tag1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3.xml><?xml version="1.0" encoding="utf-8"?>
<p:tagLst xmlns:a="http://schemas.openxmlformats.org/drawingml/2006/main" xmlns:r="http://schemas.openxmlformats.org/officeDocument/2006/relationships" xmlns:p="http://schemas.openxmlformats.org/presentationml/2006/main">
  <p:tag name="NAME" val="SingleBoatText"/>
</p:tagLst>
</file>

<file path=ppt/tags/tag1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5.xml><?xml version="1.0" encoding="utf-8"?>
<p:tagLst xmlns:a="http://schemas.openxmlformats.org/drawingml/2006/main" xmlns:r="http://schemas.openxmlformats.org/officeDocument/2006/relationships" xmlns:p="http://schemas.openxmlformats.org/presentationml/2006/main">
  <p:tag name="NAME" val="SingleBoatText"/>
</p:tagLst>
</file>

<file path=ppt/tags/tag13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7.xml><?xml version="1.0" encoding="utf-8"?>
<p:tagLst xmlns:a="http://schemas.openxmlformats.org/drawingml/2006/main" xmlns:r="http://schemas.openxmlformats.org/officeDocument/2006/relationships" xmlns:p="http://schemas.openxmlformats.org/presentationml/2006/main">
  <p:tag name="NAME" val="SingleBoatText"/>
</p:tagLst>
</file>

<file path=ppt/tags/tag1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9.xml><?xml version="1.0" encoding="utf-8"?>
<p:tagLst xmlns:a="http://schemas.openxmlformats.org/drawingml/2006/main" xmlns:r="http://schemas.openxmlformats.org/officeDocument/2006/relationships" xmlns:p="http://schemas.openxmlformats.org/presentationml/2006/main">
  <p:tag name="NAME" val="SingleBoatTex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14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8AKcc47osEupTeaEFPDvbA"/>
</p:tagLst>
</file>

<file path=ppt/tags/tag14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Kzp0WYP6kEqRKY9xhU1Op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rRa1Jr.5ukyarueM.S0Jf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7FpV1jtvE2MYFOP5yxV2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zq4LnA6RUO0hlCpZ5Odi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n15RtqJxmEKm2FGFsBy86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jXxqZg8xUKPiG0iHO0q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_Q9coMjmkEuV6rFc3jU19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zkXNKr8xE6mW3PzDQBet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NP6.E0CjAku9xZkm1U3bD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8LsxqQNc0UC0DLuHiBCEGg"/>
</p:tagLst>
</file>

<file path=ppt/tags/tag154.xml><?xml version="1.0" encoding="utf-8"?>
<p:tagLst xmlns:a="http://schemas.openxmlformats.org/drawingml/2006/main" xmlns:r="http://schemas.openxmlformats.org/officeDocument/2006/relationships" xmlns:p="http://schemas.openxmlformats.org/presentationml/2006/main">
  <p:tag name="NAME" val="Rectangle"/>
</p:tagLst>
</file>

<file path=ppt/tags/tag155.xml><?xml version="1.0" encoding="utf-8"?>
<p:tagLst xmlns:a="http://schemas.openxmlformats.org/drawingml/2006/main" xmlns:r="http://schemas.openxmlformats.org/officeDocument/2006/relationships" xmlns:p="http://schemas.openxmlformats.org/presentationml/2006/main">
  <p:tag name="NAME" val="Rectangle"/>
</p:tagLst>
</file>

<file path=ppt/tags/tag156.xml><?xml version="1.0" encoding="utf-8"?>
<p:tagLst xmlns:a="http://schemas.openxmlformats.org/drawingml/2006/main" xmlns:r="http://schemas.openxmlformats.org/officeDocument/2006/relationships" xmlns:p="http://schemas.openxmlformats.org/presentationml/2006/main">
  <p:tag name="NAME" val="Rectangle"/>
</p:tagLst>
</file>

<file path=ppt/tags/tag157.xml><?xml version="1.0" encoding="utf-8"?>
<p:tagLst xmlns:a="http://schemas.openxmlformats.org/drawingml/2006/main" xmlns:r="http://schemas.openxmlformats.org/officeDocument/2006/relationships" xmlns:p="http://schemas.openxmlformats.org/presentationml/2006/main">
  <p:tag name="NAME" val="Rectangle"/>
</p:tagLst>
</file>

<file path=ppt/tags/tag158.xml><?xml version="1.0" encoding="utf-8"?>
<p:tagLst xmlns:a="http://schemas.openxmlformats.org/drawingml/2006/main" xmlns:r="http://schemas.openxmlformats.org/officeDocument/2006/relationships" xmlns:p="http://schemas.openxmlformats.org/presentationml/2006/main">
  <p:tag name="NAME" val="Rectangle"/>
</p:tagLst>
</file>

<file path=ppt/tags/tag159.xml><?xml version="1.0" encoding="utf-8"?>
<p:tagLst xmlns:a="http://schemas.openxmlformats.org/drawingml/2006/main" xmlns:r="http://schemas.openxmlformats.org/officeDocument/2006/relationships" xmlns:p="http://schemas.openxmlformats.org/presentationml/2006/main">
  <p:tag name="NAME" val="Rectangl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60.xml><?xml version="1.0" encoding="utf-8"?>
<p:tagLst xmlns:a="http://schemas.openxmlformats.org/drawingml/2006/main" xmlns:r="http://schemas.openxmlformats.org/officeDocument/2006/relationships" xmlns:p="http://schemas.openxmlformats.org/presentationml/2006/main">
  <p:tag name="NAME" val="Rectangle"/>
</p:tagLst>
</file>

<file path=ppt/tags/tag161.xml><?xml version="1.0" encoding="utf-8"?>
<p:tagLst xmlns:a="http://schemas.openxmlformats.org/drawingml/2006/main" xmlns:r="http://schemas.openxmlformats.org/officeDocument/2006/relationships" xmlns:p="http://schemas.openxmlformats.org/presentationml/2006/main">
  <p:tag name="NAME" val="Rectangle"/>
</p:tagLst>
</file>

<file path=ppt/tags/tag162.xml><?xml version="1.0" encoding="utf-8"?>
<p:tagLst xmlns:a="http://schemas.openxmlformats.org/drawingml/2006/main" xmlns:r="http://schemas.openxmlformats.org/officeDocument/2006/relationships" xmlns:p="http://schemas.openxmlformats.org/presentationml/2006/main">
  <p:tag name="NAME" val="Rectangle"/>
</p:tagLst>
</file>

<file path=ppt/tags/tag163.xml><?xml version="1.0" encoding="utf-8"?>
<p:tagLst xmlns:a="http://schemas.openxmlformats.org/drawingml/2006/main" xmlns:r="http://schemas.openxmlformats.org/officeDocument/2006/relationships" xmlns:p="http://schemas.openxmlformats.org/presentationml/2006/main">
  <p:tag name="NAME" val="Rectangle"/>
</p:tagLst>
</file>

<file path=ppt/tags/tag164.xml><?xml version="1.0" encoding="utf-8"?>
<p:tagLst xmlns:a="http://schemas.openxmlformats.org/drawingml/2006/main" xmlns:r="http://schemas.openxmlformats.org/officeDocument/2006/relationships" xmlns:p="http://schemas.openxmlformats.org/presentationml/2006/main">
  <p:tag name="NAME" val="Rectangle"/>
</p:tagLst>
</file>

<file path=ppt/tags/tag165.xml><?xml version="1.0" encoding="utf-8"?>
<p:tagLst xmlns:a="http://schemas.openxmlformats.org/drawingml/2006/main" xmlns:r="http://schemas.openxmlformats.org/officeDocument/2006/relationships" xmlns:p="http://schemas.openxmlformats.org/presentationml/2006/main">
  <p:tag name="NAME" val="Rectangle"/>
</p:tagLst>
</file>

<file path=ppt/tags/tag166.xml><?xml version="1.0" encoding="utf-8"?>
<p:tagLst xmlns:a="http://schemas.openxmlformats.org/drawingml/2006/main" xmlns:r="http://schemas.openxmlformats.org/officeDocument/2006/relationships" xmlns:p="http://schemas.openxmlformats.org/presentationml/2006/main">
  <p:tag name="NAME" val="Rectangle"/>
</p:tagLst>
</file>

<file path=ppt/tags/tag167.xml><?xml version="1.0" encoding="utf-8"?>
<p:tagLst xmlns:a="http://schemas.openxmlformats.org/drawingml/2006/main" xmlns:r="http://schemas.openxmlformats.org/officeDocument/2006/relationships" xmlns:p="http://schemas.openxmlformats.org/presentationml/2006/main">
  <p:tag name="NAME" val="Rectangle"/>
</p:tagLst>
</file>

<file path=ppt/tags/tag168.xml><?xml version="1.0" encoding="utf-8"?>
<p:tagLst xmlns:a="http://schemas.openxmlformats.org/drawingml/2006/main" xmlns:r="http://schemas.openxmlformats.org/officeDocument/2006/relationships" xmlns:p="http://schemas.openxmlformats.org/presentationml/2006/main">
  <p:tag name="NAME" val="Rectangle"/>
</p:tagLst>
</file>

<file path=ppt/tags/tag169.xml><?xml version="1.0" encoding="utf-8"?>
<p:tagLst xmlns:a="http://schemas.openxmlformats.org/drawingml/2006/main" xmlns:r="http://schemas.openxmlformats.org/officeDocument/2006/relationships" xmlns:p="http://schemas.openxmlformats.org/presentationml/2006/main">
  <p:tag name="NAME" val="Rectangl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70.xml><?xml version="1.0" encoding="utf-8"?>
<p:tagLst xmlns:a="http://schemas.openxmlformats.org/drawingml/2006/main" xmlns:r="http://schemas.openxmlformats.org/officeDocument/2006/relationships" xmlns:p="http://schemas.openxmlformats.org/presentationml/2006/main">
  <p:tag name="NAME" val="Rectangle"/>
</p:tagLst>
</file>

<file path=ppt/tags/tag171.xml><?xml version="1.0" encoding="utf-8"?>
<p:tagLst xmlns:a="http://schemas.openxmlformats.org/drawingml/2006/main" xmlns:r="http://schemas.openxmlformats.org/officeDocument/2006/relationships" xmlns:p="http://schemas.openxmlformats.org/presentationml/2006/main">
  <p:tag name="NAME" val="Rectangle"/>
</p:tagLst>
</file>

<file path=ppt/tags/tag172.xml><?xml version="1.0" encoding="utf-8"?>
<p:tagLst xmlns:a="http://schemas.openxmlformats.org/drawingml/2006/main" xmlns:r="http://schemas.openxmlformats.org/officeDocument/2006/relationships" xmlns:p="http://schemas.openxmlformats.org/presentationml/2006/main">
  <p:tag name="NAME" val="Rectangle"/>
</p:tagLst>
</file>

<file path=ppt/tags/tag173.xml><?xml version="1.0" encoding="utf-8"?>
<p:tagLst xmlns:a="http://schemas.openxmlformats.org/drawingml/2006/main" xmlns:r="http://schemas.openxmlformats.org/officeDocument/2006/relationships" xmlns:p="http://schemas.openxmlformats.org/presentationml/2006/main">
  <p:tag name="NAME" val="Rectangle"/>
</p:tagLst>
</file>

<file path=ppt/tags/tag174.xml><?xml version="1.0" encoding="utf-8"?>
<p:tagLst xmlns:a="http://schemas.openxmlformats.org/drawingml/2006/main" xmlns:r="http://schemas.openxmlformats.org/officeDocument/2006/relationships" xmlns:p="http://schemas.openxmlformats.org/presentationml/2006/main">
  <p:tag name="NAME" val="Rectangle"/>
</p:tagLst>
</file>

<file path=ppt/tags/tag175.xml><?xml version="1.0" encoding="utf-8"?>
<p:tagLst xmlns:a="http://schemas.openxmlformats.org/drawingml/2006/main" xmlns:r="http://schemas.openxmlformats.org/officeDocument/2006/relationships" xmlns:p="http://schemas.openxmlformats.org/presentationml/2006/main">
  <p:tag name="NAME" val="Rectangle"/>
</p:tagLst>
</file>

<file path=ppt/tags/tag176.xml><?xml version="1.0" encoding="utf-8"?>
<p:tagLst xmlns:a="http://schemas.openxmlformats.org/drawingml/2006/main" xmlns:r="http://schemas.openxmlformats.org/officeDocument/2006/relationships" xmlns:p="http://schemas.openxmlformats.org/presentationml/2006/main">
  <p:tag name="NAME" val="Rectangle"/>
</p:tagLst>
</file>

<file path=ppt/tags/tag177.xml><?xml version="1.0" encoding="utf-8"?>
<p:tagLst xmlns:a="http://schemas.openxmlformats.org/drawingml/2006/main" xmlns:r="http://schemas.openxmlformats.org/officeDocument/2006/relationships" xmlns:p="http://schemas.openxmlformats.org/presentationml/2006/main">
  <p:tag name="NAME" val="Rectangle"/>
</p:tagLst>
</file>

<file path=ppt/tags/tag178.xml><?xml version="1.0" encoding="utf-8"?>
<p:tagLst xmlns:a="http://schemas.openxmlformats.org/drawingml/2006/main" xmlns:r="http://schemas.openxmlformats.org/officeDocument/2006/relationships" xmlns:p="http://schemas.openxmlformats.org/presentationml/2006/main">
  <p:tag name="NAME" val="Rectangle"/>
</p:tagLst>
</file>

<file path=ppt/tags/tag179.xml><?xml version="1.0" encoding="utf-8"?>
<p:tagLst xmlns:a="http://schemas.openxmlformats.org/drawingml/2006/main" xmlns:r="http://schemas.openxmlformats.org/officeDocument/2006/relationships" xmlns:p="http://schemas.openxmlformats.org/presentationml/2006/main">
  <p:tag name="NAME" val="Rectangl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180.xml><?xml version="1.0" encoding="utf-8"?>
<p:tagLst xmlns:a="http://schemas.openxmlformats.org/drawingml/2006/main" xmlns:r="http://schemas.openxmlformats.org/officeDocument/2006/relationships" xmlns:p="http://schemas.openxmlformats.org/presentationml/2006/main">
  <p:tag name="NAME" val="Rectangle"/>
</p:tagLst>
</file>

<file path=ppt/tags/tag181.xml><?xml version="1.0" encoding="utf-8"?>
<p:tagLst xmlns:a="http://schemas.openxmlformats.org/drawingml/2006/main" xmlns:r="http://schemas.openxmlformats.org/officeDocument/2006/relationships" xmlns:p="http://schemas.openxmlformats.org/presentationml/2006/main">
  <p:tag name="NAME" val="Rectangle"/>
</p:tagLst>
</file>

<file path=ppt/tags/tag182.xml><?xml version="1.0" encoding="utf-8"?>
<p:tagLst xmlns:a="http://schemas.openxmlformats.org/drawingml/2006/main" xmlns:r="http://schemas.openxmlformats.org/officeDocument/2006/relationships" xmlns:p="http://schemas.openxmlformats.org/presentationml/2006/main">
  <p:tag name="NAME" val="Rectangle"/>
</p:tagLst>
</file>

<file path=ppt/tags/tag183.xml><?xml version="1.0" encoding="utf-8"?>
<p:tagLst xmlns:a="http://schemas.openxmlformats.org/drawingml/2006/main" xmlns:r="http://schemas.openxmlformats.org/officeDocument/2006/relationships" xmlns:p="http://schemas.openxmlformats.org/presentationml/2006/main">
  <p:tag name="NAME" val="Rectangle"/>
</p:tagLst>
</file>

<file path=ppt/tags/tag184.xml><?xml version="1.0" encoding="utf-8"?>
<p:tagLst xmlns:a="http://schemas.openxmlformats.org/drawingml/2006/main" xmlns:r="http://schemas.openxmlformats.org/officeDocument/2006/relationships" xmlns:p="http://schemas.openxmlformats.org/presentationml/2006/main">
  <p:tag name="TIMING" val="|3.8|49.6|28.8|39.1|20.8"/>
</p:tagLst>
</file>

<file path=ppt/tags/tag185.xml><?xml version="1.0" encoding="utf-8"?>
<p:tagLst xmlns:a="http://schemas.openxmlformats.org/drawingml/2006/main" xmlns:r="http://schemas.openxmlformats.org/officeDocument/2006/relationships" xmlns:p="http://schemas.openxmlformats.org/presentationml/2006/main">
  <p:tag name="TIMING" val="|5|30.7|22"/>
</p:tagLst>
</file>

<file path=ppt/tags/tag186.xml><?xml version="1.0" encoding="utf-8"?>
<p:tagLst xmlns:a="http://schemas.openxmlformats.org/drawingml/2006/main" xmlns:r="http://schemas.openxmlformats.org/officeDocument/2006/relationships" xmlns:p="http://schemas.openxmlformats.org/presentationml/2006/main">
  <p:tag name="TIMING" val="|4|11.9|15|10.1"/>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2lSlqDvVeUS.wmykq7s9pQ"/>
</p:tagLst>
</file>

<file path=ppt/tags/tag188.xml><?xml version="1.0" encoding="utf-8"?>
<p:tagLst xmlns:a="http://schemas.openxmlformats.org/drawingml/2006/main" xmlns:r="http://schemas.openxmlformats.org/officeDocument/2006/relationships" xmlns:p="http://schemas.openxmlformats.org/presentationml/2006/main">
  <p:tag name="TIMING" val="|8.6|7.1"/>
</p:tagLst>
</file>

<file path=ppt/tags/tag189.xml><?xml version="1.0" encoding="utf-8"?>
<p:tagLst xmlns:a="http://schemas.openxmlformats.org/drawingml/2006/main" xmlns:r="http://schemas.openxmlformats.org/officeDocument/2006/relationships" xmlns:p="http://schemas.openxmlformats.org/presentationml/2006/main">
  <p:tag name="TIMING" val="|5|30.7|2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190.xml><?xml version="1.0" encoding="utf-8"?>
<p:tagLst xmlns:a="http://schemas.openxmlformats.org/drawingml/2006/main" xmlns:r="http://schemas.openxmlformats.org/officeDocument/2006/relationships" xmlns:p="http://schemas.openxmlformats.org/presentationml/2006/main">
  <p:tag name="TIMING" val="|4.9|16.9|10.3|6.9|10.7|13.7"/>
</p:tagLst>
</file>

<file path=ppt/tags/tag191.xml><?xml version="1.0" encoding="utf-8"?>
<p:tagLst xmlns:a="http://schemas.openxmlformats.org/drawingml/2006/main" xmlns:r="http://schemas.openxmlformats.org/officeDocument/2006/relationships" xmlns:p="http://schemas.openxmlformats.org/presentationml/2006/main">
  <p:tag name="TIMING" val="|13|9|8.9|8|4.1"/>
</p:tagLst>
</file>

<file path=ppt/tags/tag192.xml><?xml version="1.0" encoding="utf-8"?>
<p:tagLst xmlns:a="http://schemas.openxmlformats.org/drawingml/2006/main" xmlns:r="http://schemas.openxmlformats.org/officeDocument/2006/relationships" xmlns:p="http://schemas.openxmlformats.org/presentationml/2006/main">
  <p:tag name="TIMING" val="|6|5.9|5.8|3.8|11.2|10.8"/>
</p:tagLst>
</file>

<file path=ppt/tags/tag193.xml><?xml version="1.0" encoding="utf-8"?>
<p:tagLst xmlns:a="http://schemas.openxmlformats.org/drawingml/2006/main" xmlns:r="http://schemas.openxmlformats.org/officeDocument/2006/relationships" xmlns:p="http://schemas.openxmlformats.org/presentationml/2006/main">
  <p:tag name="TIMING" val="|3.8|49.6|28.8|39.1|20.8"/>
</p:tagLst>
</file>

<file path=ppt/tags/tag194.xml><?xml version="1.0" encoding="utf-8"?>
<p:tagLst xmlns:a="http://schemas.openxmlformats.org/drawingml/2006/main" xmlns:r="http://schemas.openxmlformats.org/officeDocument/2006/relationships" xmlns:p="http://schemas.openxmlformats.org/presentationml/2006/main">
  <p:tag name="TIMING" val="|7.7|22|2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25.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31.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45.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51.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RESIZE" val="Yes"/>
</p:tagLst>
</file>

<file path=ppt/tags/tag62.xml><?xml version="1.0" encoding="utf-8"?>
<p:tagLst xmlns:a="http://schemas.openxmlformats.org/drawingml/2006/main" xmlns:r="http://schemas.openxmlformats.org/officeDocument/2006/relationships" xmlns:p="http://schemas.openxmlformats.org/presentationml/2006/main">
  <p:tag name="TIMING" val="|16.4|17.9"/>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65.xml><?xml version="1.0" encoding="utf-8"?>
<p:tagLst xmlns:a="http://schemas.openxmlformats.org/drawingml/2006/main" xmlns:r="http://schemas.openxmlformats.org/officeDocument/2006/relationships" xmlns:p="http://schemas.openxmlformats.org/presentationml/2006/main">
  <p:tag name="NAME" val="Rectangl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aPNCHDN_0.YnXvVSAqIj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NAME" val="Rectangle"/>
</p:tagLst>
</file>

<file path=ppt/tags/tag72.xml><?xml version="1.0" encoding="utf-8"?>
<p:tagLst xmlns:a="http://schemas.openxmlformats.org/drawingml/2006/main" xmlns:r="http://schemas.openxmlformats.org/officeDocument/2006/relationships" xmlns:p="http://schemas.openxmlformats.org/presentationml/2006/main">
  <p:tag name="NAME" val="Rectang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LCtScyrQ60uj.Q0lpOByL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89K2RORPUaxQPLD.KSw.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rRr.WW0b0q2VYMPJq6Jvg"/>
</p:tagLst>
</file>

<file path=ppt/tags/tag77.xml><?xml version="1.0" encoding="utf-8"?>
<p:tagLst xmlns:a="http://schemas.openxmlformats.org/drawingml/2006/main" xmlns:r="http://schemas.openxmlformats.org/officeDocument/2006/relationships" xmlns:p="http://schemas.openxmlformats.org/presentationml/2006/main">
  <p:tag name="NAME" val="SingleBoat"/>
</p:tagLst>
</file>

<file path=ppt/tags/tag78.xml><?xml version="1.0" encoding="utf-8"?>
<p:tagLst xmlns:a="http://schemas.openxmlformats.org/drawingml/2006/main" xmlns:r="http://schemas.openxmlformats.org/officeDocument/2006/relationships" xmlns:p="http://schemas.openxmlformats.org/presentationml/2006/main">
  <p:tag name="NAME" val="SingleBoat"/>
</p:tagLst>
</file>

<file path=ppt/tags/tag79.xml><?xml version="1.0" encoding="utf-8"?>
<p:tagLst xmlns:a="http://schemas.openxmlformats.org/drawingml/2006/main" xmlns:r="http://schemas.openxmlformats.org/officeDocument/2006/relationships" xmlns:p="http://schemas.openxmlformats.org/presentationml/2006/main">
  <p:tag name="NAME" val="SingleBoa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83.xml><?xml version="1.0" encoding="utf-8"?>
<p:tagLst xmlns:a="http://schemas.openxmlformats.org/drawingml/2006/main" xmlns:r="http://schemas.openxmlformats.org/officeDocument/2006/relationships" xmlns:p="http://schemas.openxmlformats.org/presentationml/2006/main">
  <p:tag name="NAME" val="Oval"/>
</p:tagLst>
</file>

<file path=ppt/tags/tag84.xml><?xml version="1.0" encoding="utf-8"?>
<p:tagLst xmlns:a="http://schemas.openxmlformats.org/drawingml/2006/main" xmlns:r="http://schemas.openxmlformats.org/officeDocument/2006/relationships" xmlns:p="http://schemas.openxmlformats.org/presentationml/2006/main">
  <p:tag name="NAME" val="Oval"/>
</p:tagLst>
</file>

<file path=ppt/tags/tag85.xml><?xml version="1.0" encoding="utf-8"?>
<p:tagLst xmlns:a="http://schemas.openxmlformats.org/drawingml/2006/main" xmlns:r="http://schemas.openxmlformats.org/officeDocument/2006/relationships" xmlns:p="http://schemas.openxmlformats.org/presentationml/2006/main">
  <p:tag name="NAME" val="Oval"/>
</p:tagLst>
</file>

<file path=ppt/tags/tag86.xml><?xml version="1.0" encoding="utf-8"?>
<p:tagLst xmlns:a="http://schemas.openxmlformats.org/drawingml/2006/main" xmlns:r="http://schemas.openxmlformats.org/officeDocument/2006/relationships" xmlns:p="http://schemas.openxmlformats.org/presentationml/2006/main">
  <p:tag name="NAME" val="SingleBoatShape"/>
</p:tagLst>
</file>

<file path=ppt/tags/tag87.xml><?xml version="1.0" encoding="utf-8"?>
<p:tagLst xmlns:a="http://schemas.openxmlformats.org/drawingml/2006/main" xmlns:r="http://schemas.openxmlformats.org/officeDocument/2006/relationships" xmlns:p="http://schemas.openxmlformats.org/presentationml/2006/main">
  <p:tag name="NAME" val="SingleBoatText"/>
</p:tagLst>
</file>

<file path=ppt/tags/tag88.xml><?xml version="1.0" encoding="utf-8"?>
<p:tagLst xmlns:a="http://schemas.openxmlformats.org/drawingml/2006/main" xmlns:r="http://schemas.openxmlformats.org/officeDocument/2006/relationships" xmlns:p="http://schemas.openxmlformats.org/presentationml/2006/main">
  <p:tag name="NAME" val="SingleBoatShape"/>
</p:tagLst>
</file>

<file path=ppt/tags/tag89.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91.xml><?xml version="1.0" encoding="utf-8"?>
<p:tagLst xmlns:a="http://schemas.openxmlformats.org/drawingml/2006/main" xmlns:r="http://schemas.openxmlformats.org/officeDocument/2006/relationships" xmlns:p="http://schemas.openxmlformats.org/presentationml/2006/main">
  <p:tag name="NAME" val="SingleBoatText"/>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GF6dPuJNa0qpvCkyIk3e8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F6dPuJNa0qpvCkyIk3e8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F6dPuJNa0qpvCkyIk3e8A"/>
</p:tagLst>
</file>

<file path=ppt/tags/tag96.xml><?xml version="1.0" encoding="utf-8"?>
<p:tagLst xmlns:a="http://schemas.openxmlformats.org/drawingml/2006/main" xmlns:r="http://schemas.openxmlformats.org/officeDocument/2006/relationships" xmlns:p="http://schemas.openxmlformats.org/presentationml/2006/main">
  <p:tag name="TIMING" val="|6.8"/>
</p:tagLst>
</file>

<file path=ppt/tags/tag97.xml><?xml version="1.0" encoding="utf-8"?>
<p:tagLst xmlns:a="http://schemas.openxmlformats.org/drawingml/2006/main" xmlns:r="http://schemas.openxmlformats.org/officeDocument/2006/relationships" xmlns:p="http://schemas.openxmlformats.org/presentationml/2006/main">
  <p:tag name="TIMING" val="|39.9|11|15"/>
</p:tagLst>
</file>

<file path=ppt/tags/tag98.xml><?xml version="1.0" encoding="utf-8"?>
<p:tagLst xmlns:a="http://schemas.openxmlformats.org/drawingml/2006/main" xmlns:r="http://schemas.openxmlformats.org/officeDocument/2006/relationships" xmlns:p="http://schemas.openxmlformats.org/presentationml/2006/main">
  <p:tag name="NAME" val="Rectangle"/>
</p:tagLst>
</file>

<file path=ppt/tags/tag9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6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2.xml><?xml version="1.0" encoding="utf-8"?>
<a:theme xmlns:a="http://schemas.openxmlformats.org/drawingml/2006/main" name="7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3.xml><?xml version="1.0" encoding="utf-8"?>
<a:theme xmlns:a="http://schemas.openxmlformats.org/drawingml/2006/main" name="Office Theme">
  <a:themeElements>
    <a:clrScheme name="ALMA">
      <a:dk1>
        <a:sysClr val="windowText" lastClr="000000"/>
      </a:dk1>
      <a:lt1>
        <a:sysClr val="window" lastClr="FFFFFF"/>
      </a:lt1>
      <a:dk2>
        <a:srgbClr val="38529C"/>
      </a:dk2>
      <a:lt2>
        <a:srgbClr val="D8D8D8"/>
      </a:lt2>
      <a:accent1>
        <a:srgbClr val="FDC228"/>
      </a:accent1>
      <a:accent2>
        <a:srgbClr val="D8602C"/>
      </a:accent2>
      <a:accent3>
        <a:srgbClr val="6F0710"/>
      </a:accent3>
      <a:accent4>
        <a:srgbClr val="38529C"/>
      </a:accent4>
      <a:accent5>
        <a:srgbClr val="8C942D"/>
      </a:accent5>
      <a:accent6>
        <a:srgbClr val="C00000"/>
      </a:accent6>
      <a:hlink>
        <a:srgbClr val="7030A0"/>
      </a:hlink>
      <a:folHlink>
        <a:srgbClr val="00B05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a:solidFill>
            <a:schemeClr val="tx2"/>
          </a:solidFill>
        </a:ln>
      </a:spPr>
      <a:bodyPr rtlCol="0" anchor="ctr"/>
      <a:lstStyle>
        <a:defPPr algn="ctr">
          <a:defRPr sz="1400" b="1" dirty="0" smtClean="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spAutoFit/>
      </a:bodyPr>
      <a:lstStyle>
        <a:defPPr algn="ctr">
          <a:defRPr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2" id="{C3957EBB-0986-42F2-89F4-1BF58E360038}" vid="{7C349CCB-BA54-4A56-8811-3D3657F02C63}"/>
    </a:ext>
  </a:extLst>
</a:theme>
</file>

<file path=ppt/theme/theme4.xml><?xml version="1.0" encoding="utf-8"?>
<a:theme xmlns:a="http://schemas.openxmlformats.org/drawingml/2006/main" name="8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5.xml><?xml version="1.0" encoding="utf-8"?>
<a:theme xmlns:a="http://schemas.openxmlformats.org/drawingml/2006/main" name="9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68AF53E5CDA0146A56B17018F0CA5E0" ma:contentTypeVersion="10" ma:contentTypeDescription="Create a new document." ma:contentTypeScope="" ma:versionID="db0e642540bc8d93ef3d50096ca26663">
  <xsd:schema xmlns:xsd="http://www.w3.org/2001/XMLSchema" xmlns:xs="http://www.w3.org/2001/XMLSchema" xmlns:p="http://schemas.microsoft.com/office/2006/metadata/properties" xmlns:ns3="d306f6c7-7047-426c-a9ff-d994d53ba87d" targetNamespace="http://schemas.microsoft.com/office/2006/metadata/properties" ma:root="true" ma:fieldsID="a3b3d65fad21b7974dd45938fe664590" ns3:_="">
    <xsd:import namespace="d306f6c7-7047-426c-a9ff-d994d53ba87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06f6c7-7047-426c-a9ff-d994d53ba8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3C4A73-6D1A-4E56-A3EA-AB4CFF4F7E3D}">
  <ds:schemaRefs>
    <ds:schemaRef ds:uri="http://purl.org/dc/elements/1.1/"/>
    <ds:schemaRef ds:uri="http://schemas.openxmlformats.org/package/2006/metadata/core-properties"/>
    <ds:schemaRef ds:uri="http://purl.org/dc/terms/"/>
    <ds:schemaRef ds:uri="http://purl.org/dc/dcmitype/"/>
    <ds:schemaRef ds:uri="http://schemas.microsoft.com/office/2006/documentManagement/types"/>
    <ds:schemaRef ds:uri="d306f6c7-7047-426c-a9ff-d994d53ba87d"/>
    <ds:schemaRef ds:uri="http://schemas.microsoft.com/office/2006/metadata/properties"/>
    <ds:schemaRef ds:uri="http://www.w3.org/XML/1998/namespace"/>
    <ds:schemaRef ds:uri="http://schemas.microsoft.com/office/infopath/2007/PartnerControls"/>
  </ds:schemaRefs>
</ds:datastoreItem>
</file>

<file path=customXml/itemProps2.xml><?xml version="1.0" encoding="utf-8"?>
<ds:datastoreItem xmlns:ds="http://schemas.openxmlformats.org/officeDocument/2006/customXml" ds:itemID="{895B7935-E9C7-416F-9674-A549A268C7C5}">
  <ds:schemaRefs>
    <ds:schemaRef ds:uri="http://schemas.microsoft.com/sharepoint/v3/contenttype/forms"/>
  </ds:schemaRefs>
</ds:datastoreItem>
</file>

<file path=customXml/itemProps3.xml><?xml version="1.0" encoding="utf-8"?>
<ds:datastoreItem xmlns:ds="http://schemas.openxmlformats.org/officeDocument/2006/customXml" ds:itemID="{845F7690-3D39-441E-B424-E57B83EF29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06f6c7-7047-426c-a9ff-d994d53ba8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LMA Template</Template>
  <TotalTime>63563</TotalTime>
  <Words>6477</Words>
  <Application>Microsoft Office PowerPoint</Application>
  <PresentationFormat>Custom</PresentationFormat>
  <Paragraphs>774</Paragraphs>
  <Slides>71</Slides>
  <Notes>23</Notes>
  <HiddenSlides>0</HiddenSlides>
  <MMClips>7</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71</vt:i4>
      </vt:variant>
    </vt:vector>
  </HeadingPairs>
  <TitlesOfParts>
    <vt:vector size="88" baseType="lpstr">
      <vt:lpstr>Arial</vt:lpstr>
      <vt:lpstr>Arial Black</vt:lpstr>
      <vt:lpstr>Calibri</vt:lpstr>
      <vt:lpstr>Calibri Light</vt:lpstr>
      <vt:lpstr>EYInterstate Regular</vt:lpstr>
      <vt:lpstr>Gill Sans</vt:lpstr>
      <vt:lpstr>Helvetica</vt:lpstr>
      <vt:lpstr>helvetica neue</vt:lpstr>
      <vt:lpstr>Symbol</vt:lpstr>
      <vt:lpstr>Tahoma</vt:lpstr>
      <vt:lpstr>Wingdings</vt:lpstr>
      <vt:lpstr>6_Firm Format - English (US)</vt:lpstr>
      <vt:lpstr>7_Firm Format - English (US)</vt:lpstr>
      <vt:lpstr>Office Theme</vt:lpstr>
      <vt:lpstr>8_Firm Format - English (US)</vt:lpstr>
      <vt:lpstr>9_Firm Format - English (US)</vt:lpstr>
      <vt:lpstr>think-cell Slide</vt:lpstr>
      <vt:lpstr>ALMA Youth Advisory Advisoy Council Scorecard Management Tool Training  </vt:lpstr>
      <vt:lpstr>Workshop Objectives</vt:lpstr>
      <vt:lpstr>PowerPoint Presentation</vt:lpstr>
      <vt:lpstr>The Hub was launched by HE President Kenyatta to accelerate health digitisation across Africa</vt:lpstr>
      <vt:lpstr>Our Scorecard Hub is the reference portal for countries to share and access knowledge about scorecards</vt:lpstr>
      <vt:lpstr>Our online courses are designed to support countries with the decentralisation of the scorecard</vt:lpstr>
      <vt:lpstr>Supporting countries with guides and toolkits</vt:lpstr>
      <vt:lpstr>Other relevant content for countries </vt:lpstr>
      <vt:lpstr>Website: www.scorecardhub.org  If you have not already created an account, you can use your email as the username and the password: AYAC2021!  Then click on courses  Or use this link to access the AYAC course:   English: https://scorecardhub.org/courses/alma-youth-advisory-council-course/ French: https://scorecardhub.org/fr/courses/formation-du-conseil-consultatif-des-jeunes-de-lalma/        </vt:lpstr>
      <vt:lpstr>PowerPoint Presentation</vt:lpstr>
      <vt:lpstr>Malaria Context</vt:lpstr>
      <vt:lpstr>PowerPoint Presentation</vt:lpstr>
      <vt:lpstr>PowerPoint Presentation</vt:lpstr>
      <vt:lpstr>Key terms</vt:lpstr>
      <vt:lpstr>Challenges in malaria progress</vt:lpstr>
      <vt:lpstr>Continent wide initiatives</vt:lpstr>
      <vt:lpstr>Overview of H.E. President Kenyatta’s Legacy Agenda ALMA Chair</vt:lpstr>
      <vt:lpstr>PowerPoint Presentation</vt:lpstr>
      <vt:lpstr>What is a National Malaria Strategic Plan?</vt:lpstr>
      <vt:lpstr>PowerPoint Presentation</vt:lpstr>
      <vt:lpstr>PowerPoint Presentation</vt:lpstr>
      <vt:lpstr>PowerPoint Presentation</vt:lpstr>
      <vt:lpstr>PowerPoint Presentation</vt:lpstr>
      <vt:lpstr>Strengthening accountability and action through the ALMA Scorecard for Accountability and Action… </vt:lpstr>
      <vt:lpstr>PowerPoint Presentation</vt:lpstr>
      <vt:lpstr>Country Scorecard Management Tools</vt:lpstr>
      <vt:lpstr>ALMA has assisted countries across Africa in the development and strengthening of national Malaria, RMNCAH, and NTD scorecards</vt:lpstr>
      <vt:lpstr>The online scorecard management tool (web platform) includes various data visualization and management functionalities</vt:lpstr>
      <vt:lpstr>PowerPoint Presentation</vt:lpstr>
      <vt:lpstr>How to access scorecards</vt:lpstr>
      <vt:lpstr>How to login to the Scorecard Web Platform * a national admin can add an account     </vt:lpstr>
      <vt:lpstr>END OF DAY 1</vt:lpstr>
      <vt:lpstr>PowerPoint Presentation</vt:lpstr>
      <vt:lpstr>PowerPoint Presentation</vt:lpstr>
      <vt:lpstr>PowerPoint Presentation</vt:lpstr>
      <vt:lpstr> 2. Analyzing the scorecard to create actions…</vt:lpstr>
      <vt:lpstr>Three dimensions to each cell</vt:lpstr>
      <vt:lpstr>When you identify a problem, open Province to see the performance of the Districts…</vt:lpstr>
      <vt:lpstr>Sorting method</vt:lpstr>
      <vt:lpstr>Trend analysis</vt:lpstr>
      <vt:lpstr>PowerPoint Presentation</vt:lpstr>
      <vt:lpstr>PowerPoint Presentation</vt:lpstr>
      <vt:lpstr>Context</vt:lpstr>
      <vt:lpstr>After identifying the problems, investigate deeper to gain an understanding of the situation</vt:lpstr>
      <vt:lpstr>Actions usually fall into these categories </vt:lpstr>
      <vt:lpstr>The SMART framework can help generate smart action descriptions</vt:lpstr>
      <vt:lpstr>The SMART framework can help generate smart actions</vt:lpstr>
      <vt:lpstr>Once a problem has been identified on the scorecard, generate clear action items</vt:lpstr>
      <vt:lpstr>Action Tracker: Actions can be assigned and progress tracked on the scorecard web platform</vt:lpstr>
      <vt:lpstr>PowerPoint Presentation</vt:lpstr>
      <vt:lpstr>PowerPoint Presentation</vt:lpstr>
      <vt:lpstr>Integrate scorecard tools into existing accountability mechanisms</vt:lpstr>
      <vt:lpstr>Who you should share the scorecard with</vt:lpstr>
      <vt:lpstr>Scorecard can be reviewed at all levels</vt:lpstr>
      <vt:lpstr>PowerPoint Presentation</vt:lpstr>
      <vt:lpstr>PowerPoint Presentation</vt:lpstr>
      <vt:lpstr>How to share your scorecard</vt:lpstr>
      <vt:lpstr>Accountability and transparency</vt:lpstr>
      <vt:lpstr>Export from the scorecard web platform</vt:lpstr>
      <vt:lpstr>Ideas for sharing your scorecard</vt:lpstr>
      <vt:lpstr>PowerPoint Presentation</vt:lpstr>
      <vt:lpstr>PowerPoint Presentation</vt:lpstr>
      <vt:lpstr>Scorecards are useful tools for leaders to drive action and mobilise resources</vt:lpstr>
      <vt:lpstr>Example actions leaders can take </vt:lpstr>
      <vt:lpstr>Simplified indicator explanation sheet and advocacy materials </vt:lpstr>
      <vt:lpstr>PowerPoint Presentation</vt:lpstr>
      <vt:lpstr>How can AYAC members be “Scorecard Champions”</vt:lpstr>
      <vt:lpstr>PowerPoint Presentation</vt:lpstr>
      <vt:lpstr>PowerPoint Presentation</vt:lpstr>
      <vt:lpstr>PowerPoint Presentation</vt:lpstr>
      <vt:lpstr>Next Steps: AYAC Scorecard Champ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Taylor Platt</dc:creator>
  <cp:lastModifiedBy>diego duque</cp:lastModifiedBy>
  <cp:revision>1719</cp:revision>
  <cp:lastPrinted>2015-07-24T15:06:03Z</cp:lastPrinted>
  <dcterms:created xsi:type="dcterms:W3CDTF">2015-07-21T12:56:57Z</dcterms:created>
  <dcterms:modified xsi:type="dcterms:W3CDTF">2021-07-16T10:5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y fmtid="{D5CDD505-2E9C-101B-9397-08002B2CF9AE}" pid="11" name="ContentTypeId">
    <vt:lpwstr>0x010100D68AF53E5CDA0146A56B17018F0CA5E0</vt:lpwstr>
  </property>
</Properties>
</file>